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 id="2147483819" r:id="rId3"/>
    <p:sldMasterId id="2147483826" r:id="rId4"/>
    <p:sldMasterId id="2147483833" r:id="rId5"/>
  </p:sldMasterIdLst>
  <p:notesMasterIdLst>
    <p:notesMasterId r:id="rId43"/>
  </p:notesMasterIdLst>
  <p:sldIdLst>
    <p:sldId id="1624" r:id="rId6"/>
    <p:sldId id="2383" r:id="rId7"/>
    <p:sldId id="2384" r:id="rId8"/>
    <p:sldId id="2421" r:id="rId9"/>
    <p:sldId id="2327" r:id="rId10"/>
    <p:sldId id="2328" r:id="rId11"/>
    <p:sldId id="2386" r:id="rId12"/>
    <p:sldId id="2382" r:id="rId13"/>
    <p:sldId id="2377" r:id="rId14"/>
    <p:sldId id="2378" r:id="rId15"/>
    <p:sldId id="2442" r:id="rId16"/>
    <p:sldId id="2379" r:id="rId17"/>
    <p:sldId id="4473" r:id="rId18"/>
    <p:sldId id="2404" r:id="rId19"/>
    <p:sldId id="2197" r:id="rId20"/>
    <p:sldId id="2188" r:id="rId21"/>
    <p:sldId id="2198" r:id="rId22"/>
    <p:sldId id="2354" r:id="rId23"/>
    <p:sldId id="2381" r:id="rId24"/>
    <p:sldId id="2345" r:id="rId25"/>
    <p:sldId id="2346" r:id="rId26"/>
    <p:sldId id="2365" r:id="rId27"/>
    <p:sldId id="2401" r:id="rId28"/>
    <p:sldId id="2402" r:id="rId29"/>
    <p:sldId id="4468" r:id="rId30"/>
    <p:sldId id="4469" r:id="rId31"/>
    <p:sldId id="2410" r:id="rId32"/>
    <p:sldId id="2411" r:id="rId33"/>
    <p:sldId id="2443" r:id="rId34"/>
    <p:sldId id="2444" r:id="rId35"/>
    <p:sldId id="2445" r:id="rId36"/>
    <p:sldId id="2422" r:id="rId37"/>
    <p:sldId id="2387" r:id="rId38"/>
    <p:sldId id="2389" r:id="rId39"/>
    <p:sldId id="2391" r:id="rId40"/>
    <p:sldId id="2395" r:id="rId41"/>
    <p:sldId id="2396" r:id="rId42"/>
  </p:sldIdLst>
  <p:sldSz cx="12192000" cy="6858000"/>
  <p:notesSz cx="6858000" cy="9144000"/>
  <p:custDataLst>
    <p:tags r:id="rId44"/>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8" userDrawn="1">
          <p15:clr>
            <a:srgbClr val="A4A3A4"/>
          </p15:clr>
        </p15:guide>
        <p15:guide id="2" pos="57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0000FF"/>
    <a:srgbClr val="FF9900"/>
    <a:srgbClr val="3333CC"/>
    <a:srgbClr val="D31145"/>
    <a:srgbClr val="FF33CC"/>
    <a:srgbClr val="00B050"/>
    <a:srgbClr val="800000"/>
    <a:srgbClr val="EAEFF7"/>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C083E6E3-FA7D-4D7B-A595-EF9225AFEA82}" styleName="Světlý styl 1 – zvýraznění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3878" autoAdjust="0"/>
  </p:normalViewPr>
  <p:slideViewPr>
    <p:cSldViewPr snapToGrid="0">
      <p:cViewPr varScale="1">
        <p:scale>
          <a:sx n="64" d="100"/>
          <a:sy n="64" d="100"/>
        </p:scale>
        <p:origin x="1038" y="66"/>
      </p:cViewPr>
      <p:guideLst>
        <p:guide orient="horz" pos="958"/>
        <p:guide pos="574"/>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2.8049443959542598E-2"/>
          <c:w val="0.80334957098880577"/>
          <c:h val="0.7587762916834988"/>
        </c:manualLayout>
      </c:layout>
      <c:lineChart>
        <c:grouping val="standard"/>
        <c:varyColors val="0"/>
        <c:ser>
          <c:idx val="0"/>
          <c:order val="0"/>
          <c:tx>
            <c:strRef>
              <c:f>List1!$A$2</c:f>
              <c:strCache>
                <c:ptCount val="1"/>
                <c:pt idx="0">
                  <c:v>20-34 let</c:v>
                </c:pt>
              </c:strCache>
            </c:strRef>
          </c:tx>
          <c:spPr>
            <a:ln w="28575" cap="rnd">
              <a:solidFill>
                <a:srgbClr val="00B0F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2:$R$2</c:f>
              <c:numCache>
                <c:formatCode>General</c:formatCode>
                <c:ptCount val="17"/>
                <c:pt idx="0">
                  <c:v>34.052790000000002</c:v>
                </c:pt>
                <c:pt idx="1">
                  <c:v>27.23123</c:v>
                </c:pt>
                <c:pt idx="2">
                  <c:v>17.494</c:v>
                </c:pt>
                <c:pt idx="3">
                  <c:v>14.413296320000001</c:v>
                </c:pt>
                <c:pt idx="4">
                  <c:v>12.92795662</c:v>
                </c:pt>
                <c:pt idx="5">
                  <c:v>22.06005</c:v>
                </c:pt>
                <c:pt idx="6">
                  <c:v>29.981860000000001</c:v>
                </c:pt>
                <c:pt idx="7">
                  <c:v>33.337620000000001</c:v>
                </c:pt>
                <c:pt idx="8">
                  <c:v>28.936620000000001</c:v>
                </c:pt>
                <c:pt idx="9">
                  <c:v>22.170069999999999</c:v>
                </c:pt>
                <c:pt idx="10">
                  <c:v>22.280100000000001</c:v>
                </c:pt>
                <c:pt idx="11">
                  <c:v>23.6004</c:v>
                </c:pt>
                <c:pt idx="12">
                  <c:v>21.509920000000001</c:v>
                </c:pt>
                <c:pt idx="13">
                  <c:v>22.88523</c:v>
                </c:pt>
                <c:pt idx="14">
                  <c:v>23.6004</c:v>
                </c:pt>
                <c:pt idx="15">
                  <c:v>29.211680000000001</c:v>
                </c:pt>
                <c:pt idx="16">
                  <c:v>32.842509999999997</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35-49 let</c:v>
                </c:pt>
              </c:strCache>
            </c:strRef>
          </c:tx>
          <c:spPr>
            <a:ln w="28575" cap="rnd">
              <a:solidFill>
                <a:srgbClr val="00B05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3:$R$3</c:f>
              <c:numCache>
                <c:formatCode>General</c:formatCode>
                <c:ptCount val="17"/>
                <c:pt idx="0">
                  <c:v>35.544600000000003</c:v>
                </c:pt>
                <c:pt idx="1">
                  <c:v>24.829820000000002</c:v>
                </c:pt>
                <c:pt idx="2">
                  <c:v>15.103490000000001</c:v>
                </c:pt>
                <c:pt idx="3">
                  <c:v>8.2634269820000004</c:v>
                </c:pt>
                <c:pt idx="4">
                  <c:v>6.1283788619999999</c:v>
                </c:pt>
                <c:pt idx="5">
                  <c:v>7.1959030000000004</c:v>
                </c:pt>
                <c:pt idx="6">
                  <c:v>10.51709</c:v>
                </c:pt>
                <c:pt idx="7">
                  <c:v>13.83827</c:v>
                </c:pt>
                <c:pt idx="8">
                  <c:v>11.86138</c:v>
                </c:pt>
                <c:pt idx="9">
                  <c:v>9.4100269999999995</c:v>
                </c:pt>
                <c:pt idx="10">
                  <c:v>9.8449439999999999</c:v>
                </c:pt>
                <c:pt idx="11">
                  <c:v>11.11016</c:v>
                </c:pt>
                <c:pt idx="12">
                  <c:v>12.13814</c:v>
                </c:pt>
                <c:pt idx="13">
                  <c:v>13.601050000000001</c:v>
                </c:pt>
                <c:pt idx="14">
                  <c:v>16.091940000000001</c:v>
                </c:pt>
                <c:pt idx="15">
                  <c:v>23.40645</c:v>
                </c:pt>
                <c:pt idx="16">
                  <c:v>28.941759999999999</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50-64 let</c:v>
                </c:pt>
              </c:strCache>
            </c:strRef>
          </c:tx>
          <c:spPr>
            <a:ln w="28575" cap="rnd">
              <a:solidFill>
                <a:srgbClr val="C0000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4:$R$4</c:f>
              <c:numCache>
                <c:formatCode>General</c:formatCode>
                <c:ptCount val="17"/>
                <c:pt idx="0">
                  <c:v>25.474740000000001</c:v>
                </c:pt>
                <c:pt idx="1">
                  <c:v>15.95947</c:v>
                </c:pt>
                <c:pt idx="2">
                  <c:v>10.16976</c:v>
                </c:pt>
                <c:pt idx="3">
                  <c:v>6.0414412659999996</c:v>
                </c:pt>
                <c:pt idx="4">
                  <c:v>3.6248647599999999</c:v>
                </c:pt>
                <c:pt idx="5">
                  <c:v>3.574519</c:v>
                </c:pt>
                <c:pt idx="6">
                  <c:v>5.3366059999999997</c:v>
                </c:pt>
                <c:pt idx="7">
                  <c:v>6.8973120000000003</c:v>
                </c:pt>
                <c:pt idx="8">
                  <c:v>6.0917870000000001</c:v>
                </c:pt>
                <c:pt idx="9">
                  <c:v>5.5379880000000004</c:v>
                </c:pt>
                <c:pt idx="10">
                  <c:v>4.9841889999999998</c:v>
                </c:pt>
                <c:pt idx="11">
                  <c:v>5.2862609999999997</c:v>
                </c:pt>
                <c:pt idx="12">
                  <c:v>6.3435129999999997</c:v>
                </c:pt>
                <c:pt idx="13">
                  <c:v>7.6021470000000004</c:v>
                </c:pt>
                <c:pt idx="14">
                  <c:v>9.9683779999999995</c:v>
                </c:pt>
                <c:pt idx="15">
                  <c:v>14.348420000000001</c:v>
                </c:pt>
                <c:pt idx="16">
                  <c:v>16.714649999999999</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65-74 let</c:v>
                </c:pt>
              </c:strCache>
            </c:strRef>
          </c:tx>
          <c:spPr>
            <a:ln w="28575" cap="rnd">
              <a:solidFill>
                <a:srgbClr val="FFC00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5:$R$5</c:f>
              <c:numCache>
                <c:formatCode>General</c:formatCode>
                <c:ptCount val="17"/>
                <c:pt idx="0">
                  <c:v>15.924609999999999</c:v>
                </c:pt>
                <c:pt idx="1">
                  <c:v>9.8176009999999998</c:v>
                </c:pt>
                <c:pt idx="2">
                  <c:v>4.715541</c:v>
                </c:pt>
                <c:pt idx="3">
                  <c:v>2.9375500059999999</c:v>
                </c:pt>
                <c:pt idx="4">
                  <c:v>2.0099026360000001</c:v>
                </c:pt>
                <c:pt idx="5">
                  <c:v>1.236863</c:v>
                </c:pt>
                <c:pt idx="6">
                  <c:v>1.3141670000000001</c:v>
                </c:pt>
                <c:pt idx="7">
                  <c:v>4.0971089999999997</c:v>
                </c:pt>
                <c:pt idx="8">
                  <c:v>2.009903</c:v>
                </c:pt>
                <c:pt idx="9">
                  <c:v>2.2418140000000002</c:v>
                </c:pt>
                <c:pt idx="10">
                  <c:v>2.6283340000000002</c:v>
                </c:pt>
                <c:pt idx="11">
                  <c:v>2.7829419999999998</c:v>
                </c:pt>
                <c:pt idx="12">
                  <c:v>3.4013740000000001</c:v>
                </c:pt>
                <c:pt idx="13">
                  <c:v>3.4013740000000001</c:v>
                </c:pt>
                <c:pt idx="14">
                  <c:v>4.4836289999999996</c:v>
                </c:pt>
                <c:pt idx="15">
                  <c:v>7.7303949999999997</c:v>
                </c:pt>
                <c:pt idx="16">
                  <c:v>9.740297</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75+ let</c:v>
                </c:pt>
              </c:strCache>
            </c:strRef>
          </c:tx>
          <c:spPr>
            <a:ln w="28575" cap="rnd">
              <a:solidFill>
                <a:schemeClr val="bg1">
                  <a:lumMod val="65000"/>
                </a:schemeClr>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6:$R$6</c:f>
              <c:numCache>
                <c:formatCode>General</c:formatCode>
                <c:ptCount val="17"/>
                <c:pt idx="0">
                  <c:v>16.7683</c:v>
                </c:pt>
                <c:pt idx="1">
                  <c:v>10.407909999999999</c:v>
                </c:pt>
                <c:pt idx="2">
                  <c:v>5.5508850000000001</c:v>
                </c:pt>
                <c:pt idx="3">
                  <c:v>6.244745451</c:v>
                </c:pt>
                <c:pt idx="4">
                  <c:v>2.659798989</c:v>
                </c:pt>
                <c:pt idx="5">
                  <c:v>1.850295</c:v>
                </c:pt>
                <c:pt idx="6">
                  <c:v>2.428512</c:v>
                </c:pt>
                <c:pt idx="7">
                  <c:v>2.197225</c:v>
                </c:pt>
                <c:pt idx="8">
                  <c:v>2.775442</c:v>
                </c:pt>
                <c:pt idx="9">
                  <c:v>2.775442</c:v>
                </c:pt>
                <c:pt idx="10">
                  <c:v>2.081582</c:v>
                </c:pt>
                <c:pt idx="11">
                  <c:v>2.428512</c:v>
                </c:pt>
                <c:pt idx="12">
                  <c:v>2.659799</c:v>
                </c:pt>
                <c:pt idx="13">
                  <c:v>3.9318770000000001</c:v>
                </c:pt>
                <c:pt idx="14">
                  <c:v>6.9386060000000001</c:v>
                </c:pt>
                <c:pt idx="15">
                  <c:v>7.8637540000000001</c:v>
                </c:pt>
                <c:pt idx="16">
                  <c:v>11.56434</c:v>
                </c:pt>
              </c:numCache>
            </c:numRef>
          </c:val>
          <c:smooth val="0"/>
          <c:extLst>
            <c:ext xmlns:c16="http://schemas.microsoft.com/office/drawing/2014/chart" uri="{C3380CC4-5D6E-409C-BE32-E72D297353CC}">
              <c16:uniqueId val="{00000004-E230-405E-9EEC-CAC00A93CD09}"/>
            </c:ext>
          </c:extLst>
        </c:ser>
        <c:ser>
          <c:idx val="5"/>
          <c:order val="5"/>
          <c:tx>
            <c:strRef>
              <c:f>List1!$A$7</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7:$R$7</c:f>
              <c:numCache>
                <c:formatCode>General</c:formatCode>
                <c:ptCount val="17"/>
                <c:pt idx="0">
                  <c:v>30.565020000000001</c:v>
                </c:pt>
                <c:pt idx="1">
                  <c:v>21.921589999999998</c:v>
                </c:pt>
                <c:pt idx="2">
                  <c:v>13.72669</c:v>
                </c:pt>
                <c:pt idx="3">
                  <c:v>8.5499819329999998</c:v>
                </c:pt>
                <c:pt idx="4">
                  <c:v>6.4381831170000003</c:v>
                </c:pt>
                <c:pt idx="5">
                  <c:v>8.9144070000000006</c:v>
                </c:pt>
                <c:pt idx="6">
                  <c:v>12.259650000000001</c:v>
                </c:pt>
                <c:pt idx="7">
                  <c:v>15.231120000000001</c:v>
                </c:pt>
                <c:pt idx="8">
                  <c:v>12.829650000000001</c:v>
                </c:pt>
                <c:pt idx="9">
                  <c:v>11.016859999999999</c:v>
                </c:pt>
                <c:pt idx="10">
                  <c:v>10.86735</c:v>
                </c:pt>
                <c:pt idx="11">
                  <c:v>12.138170000000001</c:v>
                </c:pt>
                <c:pt idx="12">
                  <c:v>11.82981</c:v>
                </c:pt>
                <c:pt idx="13">
                  <c:v>12.47456</c:v>
                </c:pt>
                <c:pt idx="14">
                  <c:v>15.754390000000001</c:v>
                </c:pt>
                <c:pt idx="15">
                  <c:v>24.323060000000002</c:v>
                </c:pt>
                <c:pt idx="16">
                  <c:v>28.014040000000001</c:v>
                </c:pt>
              </c:numCache>
            </c:numRef>
          </c:val>
          <c:smooth val="0"/>
          <c:extLst>
            <c:ext xmlns:c16="http://schemas.microsoft.com/office/drawing/2014/chart" uri="{C3380CC4-5D6E-409C-BE32-E72D297353CC}">
              <c16:uniqueId val="{00000000-1EBB-4442-9D6E-7DAB86DA9ED4}"/>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1.7338673528478215E-2"/>
          <c:w val="0.80334957098880577"/>
          <c:h val="0.7587762916834988"/>
        </c:manualLayout>
      </c:layout>
      <c:lineChart>
        <c:grouping val="standard"/>
        <c:varyColors val="0"/>
        <c:ser>
          <c:idx val="0"/>
          <c:order val="0"/>
          <c:tx>
            <c:strRef>
              <c:f>List1!$A$2</c:f>
              <c:strCache>
                <c:ptCount val="1"/>
                <c:pt idx="0">
                  <c:v>2020</c:v>
                </c:pt>
              </c:strCache>
            </c:strRef>
          </c:tx>
          <c:spPr>
            <a:ln w="28575" cap="rnd">
              <a:solidFill>
                <a:srgbClr val="00B0F0"/>
              </a:solidFill>
              <a:prstDash val="sysDash"/>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2:$DT$2</c:f>
              <c:numCache>
                <c:formatCode>General</c:formatCode>
                <c:ptCount val="123"/>
                <c:pt idx="0">
                  <c:v>11</c:v>
                </c:pt>
                <c:pt idx="1">
                  <c:v>9</c:v>
                </c:pt>
                <c:pt idx="2">
                  <c:v>8</c:v>
                </c:pt>
                <c:pt idx="3">
                  <c:v>8</c:v>
                </c:pt>
                <c:pt idx="4">
                  <c:v>6</c:v>
                </c:pt>
                <c:pt idx="5">
                  <c:v>8</c:v>
                </c:pt>
                <c:pt idx="6">
                  <c:v>9</c:v>
                </c:pt>
                <c:pt idx="7">
                  <c:v>9</c:v>
                </c:pt>
                <c:pt idx="8">
                  <c:v>11</c:v>
                </c:pt>
                <c:pt idx="9">
                  <c:v>12</c:v>
                </c:pt>
                <c:pt idx="10">
                  <c:v>10</c:v>
                </c:pt>
                <c:pt idx="11">
                  <c:v>11</c:v>
                </c:pt>
                <c:pt idx="12">
                  <c:v>10</c:v>
                </c:pt>
                <c:pt idx="13">
                  <c:v>11</c:v>
                </c:pt>
                <c:pt idx="14">
                  <c:v>8</c:v>
                </c:pt>
                <c:pt idx="15">
                  <c:v>4</c:v>
                </c:pt>
                <c:pt idx="16">
                  <c:v>6</c:v>
                </c:pt>
                <c:pt idx="17">
                  <c:v>8</c:v>
                </c:pt>
                <c:pt idx="18">
                  <c:v>7</c:v>
                </c:pt>
                <c:pt idx="19">
                  <c:v>7</c:v>
                </c:pt>
                <c:pt idx="20">
                  <c:v>9</c:v>
                </c:pt>
                <c:pt idx="21">
                  <c:v>9</c:v>
                </c:pt>
                <c:pt idx="22">
                  <c:v>6</c:v>
                </c:pt>
                <c:pt idx="23">
                  <c:v>7</c:v>
                </c:pt>
                <c:pt idx="24">
                  <c:v>9</c:v>
                </c:pt>
                <c:pt idx="25">
                  <c:v>8</c:v>
                </c:pt>
                <c:pt idx="26">
                  <c:v>9</c:v>
                </c:pt>
                <c:pt idx="27">
                  <c:v>10</c:v>
                </c:pt>
                <c:pt idx="28">
                  <c:v>10</c:v>
                </c:pt>
                <c:pt idx="29">
                  <c:v>8</c:v>
                </c:pt>
                <c:pt idx="30">
                  <c:v>10</c:v>
                </c:pt>
                <c:pt idx="31">
                  <c:v>10</c:v>
                </c:pt>
                <c:pt idx="32">
                  <c:v>11</c:v>
                </c:pt>
                <c:pt idx="33">
                  <c:v>11</c:v>
                </c:pt>
                <c:pt idx="34">
                  <c:v>13</c:v>
                </c:pt>
                <c:pt idx="35">
                  <c:v>11</c:v>
                </c:pt>
                <c:pt idx="36">
                  <c:v>13</c:v>
                </c:pt>
                <c:pt idx="37">
                  <c:v>14</c:v>
                </c:pt>
                <c:pt idx="38">
                  <c:v>15</c:v>
                </c:pt>
                <c:pt idx="39">
                  <c:v>15</c:v>
                </c:pt>
                <c:pt idx="40">
                  <c:v>13</c:v>
                </c:pt>
                <c:pt idx="41">
                  <c:v>14</c:v>
                </c:pt>
                <c:pt idx="42">
                  <c:v>14</c:v>
                </c:pt>
                <c:pt idx="43">
                  <c:v>13</c:v>
                </c:pt>
                <c:pt idx="44">
                  <c:v>12</c:v>
                </c:pt>
                <c:pt idx="45">
                  <c:v>14</c:v>
                </c:pt>
                <c:pt idx="46">
                  <c:v>13</c:v>
                </c:pt>
                <c:pt idx="47">
                  <c:v>12</c:v>
                </c:pt>
                <c:pt idx="48">
                  <c:v>14</c:v>
                </c:pt>
                <c:pt idx="49">
                  <c:v>14</c:v>
                </c:pt>
                <c:pt idx="50">
                  <c:v>13</c:v>
                </c:pt>
                <c:pt idx="51">
                  <c:v>12</c:v>
                </c:pt>
                <c:pt idx="52">
                  <c:v>14</c:v>
                </c:pt>
                <c:pt idx="53">
                  <c:v>15</c:v>
                </c:pt>
                <c:pt idx="54">
                  <c:v>14</c:v>
                </c:pt>
                <c:pt idx="55">
                  <c:v>14</c:v>
                </c:pt>
                <c:pt idx="56">
                  <c:v>16</c:v>
                </c:pt>
                <c:pt idx="57">
                  <c:v>16</c:v>
                </c:pt>
                <c:pt idx="58">
                  <c:v>18</c:v>
                </c:pt>
                <c:pt idx="59">
                  <c:v>18</c:v>
                </c:pt>
                <c:pt idx="60">
                  <c:v>17</c:v>
                </c:pt>
                <c:pt idx="61">
                  <c:v>15</c:v>
                </c:pt>
                <c:pt idx="62">
                  <c:v>15</c:v>
                </c:pt>
                <c:pt idx="63">
                  <c:v>14</c:v>
                </c:pt>
                <c:pt idx="64">
                  <c:v>14</c:v>
                </c:pt>
                <c:pt idx="65">
                  <c:v>15</c:v>
                </c:pt>
                <c:pt idx="66">
                  <c:v>15</c:v>
                </c:pt>
                <c:pt idx="67">
                  <c:v>17</c:v>
                </c:pt>
                <c:pt idx="68">
                  <c:v>12</c:v>
                </c:pt>
                <c:pt idx="69">
                  <c:v>20</c:v>
                </c:pt>
                <c:pt idx="70">
                  <c:v>22</c:v>
                </c:pt>
                <c:pt idx="71">
                  <c:v>21</c:v>
                </c:pt>
                <c:pt idx="72">
                  <c:v>22</c:v>
                </c:pt>
                <c:pt idx="73">
                  <c:v>23</c:v>
                </c:pt>
                <c:pt idx="74">
                  <c:v>22</c:v>
                </c:pt>
                <c:pt idx="75">
                  <c:v>21</c:v>
                </c:pt>
                <c:pt idx="76">
                  <c:v>21</c:v>
                </c:pt>
                <c:pt idx="77">
                  <c:v>22</c:v>
                </c:pt>
                <c:pt idx="78">
                  <c:v>25</c:v>
                </c:pt>
                <c:pt idx="79">
                  <c:v>27</c:v>
                </c:pt>
                <c:pt idx="80">
                  <c:v>27</c:v>
                </c:pt>
                <c:pt idx="81">
                  <c:v>24</c:v>
                </c:pt>
                <c:pt idx="82">
                  <c:v>26</c:v>
                </c:pt>
                <c:pt idx="83">
                  <c:v>29</c:v>
                </c:pt>
                <c:pt idx="84">
                  <c:v>33</c:v>
                </c:pt>
                <c:pt idx="85">
                  <c:v>29</c:v>
                </c:pt>
                <c:pt idx="86">
                  <c:v>31</c:v>
                </c:pt>
                <c:pt idx="87">
                  <c:v>34</c:v>
                </c:pt>
                <c:pt idx="88">
                  <c:v>37</c:v>
                </c:pt>
                <c:pt idx="89">
                  <c:v>37</c:v>
                </c:pt>
                <c:pt idx="90">
                  <c:v>39</c:v>
                </c:pt>
                <c:pt idx="91">
                  <c:v>40</c:v>
                </c:pt>
                <c:pt idx="92">
                  <c:v>45</c:v>
                </c:pt>
                <c:pt idx="93">
                  <c:v>49</c:v>
                </c:pt>
                <c:pt idx="94">
                  <c:v>46</c:v>
                </c:pt>
                <c:pt idx="95">
                  <c:v>51</c:v>
                </c:pt>
                <c:pt idx="96">
                  <c:v>49</c:v>
                </c:pt>
                <c:pt idx="97">
                  <c:v>52</c:v>
                </c:pt>
                <c:pt idx="98">
                  <c:v>53</c:v>
                </c:pt>
                <c:pt idx="99">
                  <c:v>50</c:v>
                </c:pt>
                <c:pt idx="100">
                  <c:v>55</c:v>
                </c:pt>
                <c:pt idx="101">
                  <c:v>58</c:v>
                </c:pt>
                <c:pt idx="102">
                  <c:v>62</c:v>
                </c:pt>
                <c:pt idx="103">
                  <c:v>57</c:v>
                </c:pt>
                <c:pt idx="104">
                  <c:v>63</c:v>
                </c:pt>
                <c:pt idx="105">
                  <c:v>70</c:v>
                </c:pt>
                <c:pt idx="106">
                  <c:v>70</c:v>
                </c:pt>
                <c:pt idx="107">
                  <c:v>74</c:v>
                </c:pt>
                <c:pt idx="108">
                  <c:v>81</c:v>
                </c:pt>
                <c:pt idx="109">
                  <c:v>98</c:v>
                </c:pt>
                <c:pt idx="110">
                  <c:v>112</c:v>
                </c:pt>
                <c:pt idx="111">
                  <c:v>122</c:v>
                </c:pt>
                <c:pt idx="112">
                  <c:v>144</c:v>
                </c:pt>
                <c:pt idx="113">
                  <c:v>137</c:v>
                </c:pt>
                <c:pt idx="114">
                  <c:v>147</c:v>
                </c:pt>
                <c:pt idx="115">
                  <c:v>157</c:v>
                </c:pt>
                <c:pt idx="116">
                  <c:v>158</c:v>
                </c:pt>
                <c:pt idx="117">
                  <c:v>163</c:v>
                </c:pt>
                <c:pt idx="118">
                  <c:v>178</c:v>
                </c:pt>
                <c:pt idx="119">
                  <c:v>191</c:v>
                </c:pt>
                <c:pt idx="120">
                  <c:v>197</c:v>
                </c:pt>
                <c:pt idx="121">
                  <c:v>196</c:v>
                </c:pt>
                <c:pt idx="122">
                  <c:v>219</c:v>
                </c:pt>
              </c:numCache>
            </c:numRef>
          </c:val>
          <c:smooth val="0"/>
          <c:extLst>
            <c:ext xmlns:c16="http://schemas.microsoft.com/office/drawing/2014/chart" uri="{C3380CC4-5D6E-409C-BE32-E72D297353CC}">
              <c16:uniqueId val="{00000000-64A3-4CB3-9339-304CB1D10FBD}"/>
            </c:ext>
          </c:extLst>
        </c:ser>
        <c:ser>
          <c:idx val="1"/>
          <c:order val="1"/>
          <c:tx>
            <c:strRef>
              <c:f>List1!$A$3</c:f>
              <c:strCache>
                <c:ptCount val="1"/>
                <c:pt idx="0">
                  <c:v>2021</c:v>
                </c:pt>
              </c:strCache>
            </c:strRef>
          </c:tx>
          <c:spPr>
            <a:ln w="28575" cap="rnd">
              <a:solidFill>
                <a:srgbClr val="00B050"/>
              </a:solidFill>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3:$DT$3</c:f>
              <c:numCache>
                <c:formatCode>General</c:formatCode>
                <c:ptCount val="123"/>
                <c:pt idx="0">
                  <c:v>97</c:v>
                </c:pt>
                <c:pt idx="1">
                  <c:v>89</c:v>
                </c:pt>
                <c:pt idx="2">
                  <c:v>83</c:v>
                </c:pt>
                <c:pt idx="3">
                  <c:v>70</c:v>
                </c:pt>
                <c:pt idx="4">
                  <c:v>58</c:v>
                </c:pt>
                <c:pt idx="5">
                  <c:v>59</c:v>
                </c:pt>
                <c:pt idx="6">
                  <c:v>57</c:v>
                </c:pt>
                <c:pt idx="7">
                  <c:v>58</c:v>
                </c:pt>
                <c:pt idx="8">
                  <c:v>55</c:v>
                </c:pt>
                <c:pt idx="9">
                  <c:v>52</c:v>
                </c:pt>
                <c:pt idx="10">
                  <c:v>37</c:v>
                </c:pt>
                <c:pt idx="11">
                  <c:v>36</c:v>
                </c:pt>
                <c:pt idx="12">
                  <c:v>34</c:v>
                </c:pt>
                <c:pt idx="13">
                  <c:v>36</c:v>
                </c:pt>
                <c:pt idx="14">
                  <c:v>26</c:v>
                </c:pt>
                <c:pt idx="15">
                  <c:v>24</c:v>
                </c:pt>
                <c:pt idx="16">
                  <c:v>23</c:v>
                </c:pt>
                <c:pt idx="17">
                  <c:v>21</c:v>
                </c:pt>
                <c:pt idx="18">
                  <c:v>18</c:v>
                </c:pt>
                <c:pt idx="19">
                  <c:v>20</c:v>
                </c:pt>
                <c:pt idx="20">
                  <c:v>18</c:v>
                </c:pt>
                <c:pt idx="21">
                  <c:v>17</c:v>
                </c:pt>
                <c:pt idx="22">
                  <c:v>14</c:v>
                </c:pt>
                <c:pt idx="23">
                  <c:v>16</c:v>
                </c:pt>
                <c:pt idx="24">
                  <c:v>16</c:v>
                </c:pt>
                <c:pt idx="25">
                  <c:v>13</c:v>
                </c:pt>
                <c:pt idx="26">
                  <c:v>12</c:v>
                </c:pt>
                <c:pt idx="27">
                  <c:v>14</c:v>
                </c:pt>
                <c:pt idx="28">
                  <c:v>15</c:v>
                </c:pt>
                <c:pt idx="29">
                  <c:v>13</c:v>
                </c:pt>
                <c:pt idx="30">
                  <c:v>14</c:v>
                </c:pt>
                <c:pt idx="31">
                  <c:v>7</c:v>
                </c:pt>
                <c:pt idx="32">
                  <c:v>6</c:v>
                </c:pt>
                <c:pt idx="33">
                  <c:v>7</c:v>
                </c:pt>
                <c:pt idx="34">
                  <c:v>11</c:v>
                </c:pt>
                <c:pt idx="35">
                  <c:v>11</c:v>
                </c:pt>
                <c:pt idx="36">
                  <c:v>12</c:v>
                </c:pt>
                <c:pt idx="37">
                  <c:v>11</c:v>
                </c:pt>
                <c:pt idx="38">
                  <c:v>8</c:v>
                </c:pt>
                <c:pt idx="39">
                  <c:v>7</c:v>
                </c:pt>
                <c:pt idx="40">
                  <c:v>8</c:v>
                </c:pt>
                <c:pt idx="41">
                  <c:v>9</c:v>
                </c:pt>
                <c:pt idx="42">
                  <c:v>8</c:v>
                </c:pt>
                <c:pt idx="43">
                  <c:v>9</c:v>
                </c:pt>
                <c:pt idx="44">
                  <c:v>9</c:v>
                </c:pt>
                <c:pt idx="45">
                  <c:v>10</c:v>
                </c:pt>
                <c:pt idx="46">
                  <c:v>9</c:v>
                </c:pt>
                <c:pt idx="47">
                  <c:v>10</c:v>
                </c:pt>
                <c:pt idx="48">
                  <c:v>10</c:v>
                </c:pt>
                <c:pt idx="49">
                  <c:v>5</c:v>
                </c:pt>
                <c:pt idx="50">
                  <c:v>8</c:v>
                </c:pt>
                <c:pt idx="51">
                  <c:v>12</c:v>
                </c:pt>
                <c:pt idx="52">
                  <c:v>11</c:v>
                </c:pt>
                <c:pt idx="53">
                  <c:v>8</c:v>
                </c:pt>
                <c:pt idx="54">
                  <c:v>9</c:v>
                </c:pt>
                <c:pt idx="55">
                  <c:v>9</c:v>
                </c:pt>
                <c:pt idx="56">
                  <c:v>10</c:v>
                </c:pt>
                <c:pt idx="57">
                  <c:v>11</c:v>
                </c:pt>
                <c:pt idx="58">
                  <c:v>14</c:v>
                </c:pt>
                <c:pt idx="59">
                  <c:v>16</c:v>
                </c:pt>
                <c:pt idx="60">
                  <c:v>17</c:v>
                </c:pt>
                <c:pt idx="61">
                  <c:v>16</c:v>
                </c:pt>
                <c:pt idx="62">
                  <c:v>14</c:v>
                </c:pt>
                <c:pt idx="63">
                  <c:v>16</c:v>
                </c:pt>
                <c:pt idx="64">
                  <c:v>17</c:v>
                </c:pt>
                <c:pt idx="65">
                  <c:v>16</c:v>
                </c:pt>
                <c:pt idx="66">
                  <c:v>14</c:v>
                </c:pt>
                <c:pt idx="67">
                  <c:v>12</c:v>
                </c:pt>
                <c:pt idx="68">
                  <c:v>15</c:v>
                </c:pt>
                <c:pt idx="69">
                  <c:v>17</c:v>
                </c:pt>
                <c:pt idx="70">
                  <c:v>16</c:v>
                </c:pt>
                <c:pt idx="71">
                  <c:v>18</c:v>
                </c:pt>
                <c:pt idx="72">
                  <c:v>18</c:v>
                </c:pt>
                <c:pt idx="73">
                  <c:v>17</c:v>
                </c:pt>
                <c:pt idx="74">
                  <c:v>18</c:v>
                </c:pt>
                <c:pt idx="75">
                  <c:v>15</c:v>
                </c:pt>
                <c:pt idx="76">
                  <c:v>17</c:v>
                </c:pt>
                <c:pt idx="77">
                  <c:v>17</c:v>
                </c:pt>
                <c:pt idx="78">
                  <c:v>16</c:v>
                </c:pt>
                <c:pt idx="79">
                  <c:v>17</c:v>
                </c:pt>
                <c:pt idx="80">
                  <c:v>17</c:v>
                </c:pt>
                <c:pt idx="81">
                  <c:v>15</c:v>
                </c:pt>
                <c:pt idx="82">
                  <c:v>16</c:v>
                </c:pt>
                <c:pt idx="83">
                  <c:v>17</c:v>
                </c:pt>
                <c:pt idx="84">
                  <c:v>15</c:v>
                </c:pt>
                <c:pt idx="85">
                  <c:v>17</c:v>
                </c:pt>
                <c:pt idx="86">
                  <c:v>15</c:v>
                </c:pt>
                <c:pt idx="87">
                  <c:v>13</c:v>
                </c:pt>
                <c:pt idx="88">
                  <c:v>12</c:v>
                </c:pt>
                <c:pt idx="89">
                  <c:v>8</c:v>
                </c:pt>
                <c:pt idx="90">
                  <c:v>9</c:v>
                </c:pt>
                <c:pt idx="91">
                  <c:v>9</c:v>
                </c:pt>
                <c:pt idx="92">
                  <c:v>11</c:v>
                </c:pt>
                <c:pt idx="93">
                  <c:v>12</c:v>
                </c:pt>
                <c:pt idx="94">
                  <c:v>14</c:v>
                </c:pt>
                <c:pt idx="95">
                  <c:v>16</c:v>
                </c:pt>
                <c:pt idx="96">
                  <c:v>16</c:v>
                </c:pt>
                <c:pt idx="97">
                  <c:v>23</c:v>
                </c:pt>
                <c:pt idx="98">
                  <c:v>26</c:v>
                </c:pt>
                <c:pt idx="99">
                  <c:v>24</c:v>
                </c:pt>
                <c:pt idx="100">
                  <c:v>22</c:v>
                </c:pt>
                <c:pt idx="101">
                  <c:v>24</c:v>
                </c:pt>
                <c:pt idx="102">
                  <c:v>27</c:v>
                </c:pt>
                <c:pt idx="103">
                  <c:v>31</c:v>
                </c:pt>
                <c:pt idx="104">
                  <c:v>35</c:v>
                </c:pt>
                <c:pt idx="105">
                  <c:v>39</c:v>
                </c:pt>
                <c:pt idx="106">
                  <c:v>36</c:v>
                </c:pt>
                <c:pt idx="107">
                  <c:v>40</c:v>
                </c:pt>
                <c:pt idx="108">
                  <c:v>40</c:v>
                </c:pt>
                <c:pt idx="109">
                  <c:v>37</c:v>
                </c:pt>
                <c:pt idx="110">
                  <c:v>36</c:v>
                </c:pt>
              </c:numCache>
            </c:numRef>
          </c:val>
          <c:smooth val="0"/>
          <c:extLst>
            <c:ext xmlns:c16="http://schemas.microsoft.com/office/drawing/2014/chart" uri="{C3380CC4-5D6E-409C-BE32-E72D297353CC}">
              <c16:uniqueId val="{00000001-64A3-4CB3-9339-304CB1D10FBD}"/>
            </c:ext>
          </c:extLst>
        </c:ser>
        <c:dLbls>
          <c:showLegendKey val="0"/>
          <c:showVal val="0"/>
          <c:showCatName val="0"/>
          <c:showSerName val="0"/>
          <c:showPercent val="0"/>
          <c:showBubbleSize val="0"/>
        </c:dLbls>
        <c:smooth val="0"/>
        <c:axId val="488445264"/>
        <c:axId val="494149648"/>
      </c:lineChart>
      <c:dateAx>
        <c:axId val="488445264"/>
        <c:scaling>
          <c:orientation val="minMax"/>
        </c:scaling>
        <c:delete val="0"/>
        <c:axPos val="b"/>
        <c:numFmt formatCode="d/m;@"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Offset val="100"/>
        <c:baseTimeUnit val="days"/>
        <c:majorUnit val="3"/>
        <c:majorTimeUnit val="days"/>
      </c:dateAx>
      <c:valAx>
        <c:axId val="494149648"/>
        <c:scaling>
          <c:orientation val="minMax"/>
          <c:max val="2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50"/>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02321137161748E-2"/>
          <c:y val="2.2072756897177394E-2"/>
          <c:w val="0.79539090943282509"/>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2:$R$2</c:f>
              <c:numCache>
                <c:formatCode>General</c:formatCode>
                <c:ptCount val="17"/>
                <c:pt idx="0">
                  <c:v>23.974810000000002</c:v>
                </c:pt>
                <c:pt idx="1">
                  <c:v>16.041969999999999</c:v>
                </c:pt>
                <c:pt idx="2">
                  <c:v>7.9328419999999999</c:v>
                </c:pt>
                <c:pt idx="3">
                  <c:v>3.3494223129999998</c:v>
                </c:pt>
                <c:pt idx="4">
                  <c:v>4.0545640000000001</c:v>
                </c:pt>
                <c:pt idx="5">
                  <c:v>3.1731370000000001</c:v>
                </c:pt>
                <c:pt idx="6">
                  <c:v>4.4071350000000002</c:v>
                </c:pt>
                <c:pt idx="7">
                  <c:v>5.993703</c:v>
                </c:pt>
                <c:pt idx="8">
                  <c:v>3.5257079999999998</c:v>
                </c:pt>
                <c:pt idx="9">
                  <c:v>4.9359909999999996</c:v>
                </c:pt>
                <c:pt idx="10">
                  <c:v>6.8751300000000004</c:v>
                </c:pt>
                <c:pt idx="11">
                  <c:v>6.3462740000000002</c:v>
                </c:pt>
                <c:pt idx="12">
                  <c:v>5.1122759999999996</c:v>
                </c:pt>
                <c:pt idx="13">
                  <c:v>4.5834200000000003</c:v>
                </c:pt>
                <c:pt idx="14">
                  <c:v>8.8142689999999995</c:v>
                </c:pt>
                <c:pt idx="15">
                  <c:v>10.753410000000001</c:v>
                </c:pt>
                <c:pt idx="16">
                  <c:v>14.102830000000001</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3:$R$3</c:f>
              <c:numCache>
                <c:formatCode>General</c:formatCode>
                <c:ptCount val="17"/>
                <c:pt idx="0">
                  <c:v>45.633960000000002</c:v>
                </c:pt>
                <c:pt idx="1">
                  <c:v>30.505990000000001</c:v>
                </c:pt>
                <c:pt idx="2">
                  <c:v>16.25319</c:v>
                </c:pt>
                <c:pt idx="3">
                  <c:v>8.5016684520000005</c:v>
                </c:pt>
                <c:pt idx="4">
                  <c:v>6.1262020000000001</c:v>
                </c:pt>
                <c:pt idx="5">
                  <c:v>6.2512270000000001</c:v>
                </c:pt>
                <c:pt idx="6">
                  <c:v>9.1267910000000008</c:v>
                </c:pt>
                <c:pt idx="7">
                  <c:v>14.12777</c:v>
                </c:pt>
                <c:pt idx="8">
                  <c:v>12.002359999999999</c:v>
                </c:pt>
                <c:pt idx="9">
                  <c:v>14.12777</c:v>
                </c:pt>
                <c:pt idx="10">
                  <c:v>12.37743</c:v>
                </c:pt>
                <c:pt idx="11">
                  <c:v>16.378209999999999</c:v>
                </c:pt>
                <c:pt idx="12">
                  <c:v>14.50285</c:v>
                </c:pt>
                <c:pt idx="13">
                  <c:v>18.003530000000001</c:v>
                </c:pt>
                <c:pt idx="14">
                  <c:v>22.879490000000001</c:v>
                </c:pt>
                <c:pt idx="15">
                  <c:v>50.259860000000003</c:v>
                </c:pt>
                <c:pt idx="16">
                  <c:v>55.510890000000003</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4:$R$4</c:f>
              <c:numCache>
                <c:formatCode>General</c:formatCode>
                <c:ptCount val="17"/>
                <c:pt idx="0">
                  <c:v>46.851689999999998</c:v>
                </c:pt>
                <c:pt idx="1">
                  <c:v>41.869990000000001</c:v>
                </c:pt>
                <c:pt idx="2">
                  <c:v>33.567160000000001</c:v>
                </c:pt>
                <c:pt idx="3">
                  <c:v>17.19871994</c:v>
                </c:pt>
                <c:pt idx="4">
                  <c:v>12.21702</c:v>
                </c:pt>
                <c:pt idx="5">
                  <c:v>23.603760000000001</c:v>
                </c:pt>
                <c:pt idx="6">
                  <c:v>30.720469999999999</c:v>
                </c:pt>
                <c:pt idx="7">
                  <c:v>37.71857</c:v>
                </c:pt>
                <c:pt idx="8">
                  <c:v>30.839079999999999</c:v>
                </c:pt>
                <c:pt idx="9">
                  <c:v>27.517949999999999</c:v>
                </c:pt>
                <c:pt idx="10">
                  <c:v>26.094609999999999</c:v>
                </c:pt>
                <c:pt idx="11">
                  <c:v>30.839079999999999</c:v>
                </c:pt>
                <c:pt idx="12">
                  <c:v>27.280729999999998</c:v>
                </c:pt>
                <c:pt idx="13">
                  <c:v>20.875689999999999</c:v>
                </c:pt>
                <c:pt idx="14">
                  <c:v>35.464950000000002</c:v>
                </c:pt>
                <c:pt idx="15">
                  <c:v>66.897090000000006</c:v>
                </c:pt>
                <c:pt idx="16">
                  <c:v>69.0321</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5:$R$5</c:f>
              <c:numCache>
                <c:formatCode>General</c:formatCode>
                <c:ptCount val="17"/>
                <c:pt idx="0">
                  <c:v>40.539479999999998</c:v>
                </c:pt>
                <c:pt idx="1">
                  <c:v>31.128530000000001</c:v>
                </c:pt>
                <c:pt idx="2">
                  <c:v>20.722190000000001</c:v>
                </c:pt>
                <c:pt idx="3">
                  <c:v>10.496830360000001</c:v>
                </c:pt>
                <c:pt idx="4">
                  <c:v>7.9178680000000004</c:v>
                </c:pt>
                <c:pt idx="5">
                  <c:v>12.080399999999999</c:v>
                </c:pt>
                <c:pt idx="6">
                  <c:v>16.152450000000002</c:v>
                </c:pt>
                <c:pt idx="7">
                  <c:v>21.038910000000001</c:v>
                </c:pt>
                <c:pt idx="8">
                  <c:v>17.0121</c:v>
                </c:pt>
                <c:pt idx="9">
                  <c:v>16.876370000000001</c:v>
                </c:pt>
                <c:pt idx="10">
                  <c:v>16.197700000000001</c:v>
                </c:pt>
                <c:pt idx="11">
                  <c:v>19.319600000000001</c:v>
                </c:pt>
                <c:pt idx="12">
                  <c:v>16.96686</c:v>
                </c:pt>
                <c:pt idx="13">
                  <c:v>15.65476</c:v>
                </c:pt>
                <c:pt idx="14">
                  <c:v>24.070319999999999</c:v>
                </c:pt>
                <c:pt idx="15">
                  <c:v>46.466569999999997</c:v>
                </c:pt>
                <c:pt idx="16">
                  <c:v>50.04092</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3.05 - 29.05</c:v>
                </c:pt>
                <c:pt idx="1">
                  <c:v>30.05 - 05.06</c:v>
                </c:pt>
                <c:pt idx="2">
                  <c:v>06.06 - 12.06</c:v>
                </c:pt>
                <c:pt idx="3">
                  <c:v>13.06 - 19.06</c:v>
                </c:pt>
                <c:pt idx="4">
                  <c:v>20.06 - 26.06</c:v>
                </c:pt>
                <c:pt idx="5">
                  <c:v>27.06 - 03.07</c:v>
                </c:pt>
                <c:pt idx="6">
                  <c:v>04.07 - 10.07</c:v>
                </c:pt>
                <c:pt idx="7">
                  <c:v>11.07 - 17.07</c:v>
                </c:pt>
                <c:pt idx="8">
                  <c:v>18.07 - 24.07</c:v>
                </c:pt>
                <c:pt idx="9">
                  <c:v>25.07 - 31.07</c:v>
                </c:pt>
                <c:pt idx="10">
                  <c:v>01.08 - 07.08</c:v>
                </c:pt>
                <c:pt idx="11">
                  <c:v>08.08 - 14.08</c:v>
                </c:pt>
                <c:pt idx="12">
                  <c:v>15.08 - 21.08</c:v>
                </c:pt>
                <c:pt idx="13">
                  <c:v>22.08 - 28.08</c:v>
                </c:pt>
                <c:pt idx="14">
                  <c:v>29.08 - 04.09</c:v>
                </c:pt>
                <c:pt idx="15">
                  <c:v>05.09 - 11.09</c:v>
                </c:pt>
                <c:pt idx="16">
                  <c:v>12.09 - 18.09</c:v>
                </c:pt>
              </c:strCache>
            </c:strRef>
          </c:cat>
          <c:val>
            <c:numRef>
              <c:f>List1!$B$6:$R$6</c:f>
              <c:numCache>
                <c:formatCode>General</c:formatCode>
                <c:ptCount val="17"/>
                <c:pt idx="0">
                  <c:v>30.565020000000001</c:v>
                </c:pt>
                <c:pt idx="1">
                  <c:v>21.921589999999998</c:v>
                </c:pt>
                <c:pt idx="2">
                  <c:v>13.72669</c:v>
                </c:pt>
                <c:pt idx="3">
                  <c:v>8.5499819329999998</c:v>
                </c:pt>
                <c:pt idx="4">
                  <c:v>6.4381830000000004</c:v>
                </c:pt>
                <c:pt idx="5">
                  <c:v>8.9144070000000006</c:v>
                </c:pt>
                <c:pt idx="6">
                  <c:v>12.259650000000001</c:v>
                </c:pt>
                <c:pt idx="7">
                  <c:v>15.231120000000001</c:v>
                </c:pt>
                <c:pt idx="8">
                  <c:v>12.829650000000001</c:v>
                </c:pt>
                <c:pt idx="9">
                  <c:v>11.016859999999999</c:v>
                </c:pt>
                <c:pt idx="10">
                  <c:v>10.86735</c:v>
                </c:pt>
                <c:pt idx="11">
                  <c:v>12.138170000000001</c:v>
                </c:pt>
                <c:pt idx="12">
                  <c:v>11.82981</c:v>
                </c:pt>
                <c:pt idx="13">
                  <c:v>12.47456</c:v>
                </c:pt>
                <c:pt idx="14">
                  <c:v>15.754390000000001</c:v>
                </c:pt>
                <c:pt idx="15">
                  <c:v>24.323060000000002</c:v>
                </c:pt>
                <c:pt idx="16">
                  <c:v>28.014040000000001</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4380214565155387"/>
          <c:y val="0.25415522984813471"/>
          <c:w val="0.14190389034991419"/>
          <c:h val="0.5028025214398994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158</c:v>
                </c:pt>
                <c:pt idx="1">
                  <c:v>147</c:v>
                </c:pt>
                <c:pt idx="2">
                  <c:v>255</c:v>
                </c:pt>
                <c:pt idx="3">
                  <c:v>172</c:v>
                </c:pt>
                <c:pt idx="4">
                  <c:v>182</c:v>
                </c:pt>
                <c:pt idx="5">
                  <c:v>171</c:v>
                </c:pt>
                <c:pt idx="6">
                  <c:v>176</c:v>
                </c:pt>
                <c:pt idx="7">
                  <c:v>92</c:v>
                </c:pt>
                <c:pt idx="8">
                  <c:v>102</c:v>
                </c:pt>
                <c:pt idx="9">
                  <c:v>176</c:v>
                </c:pt>
                <c:pt idx="10">
                  <c:v>139</c:v>
                </c:pt>
                <c:pt idx="11">
                  <c:v>138</c:v>
                </c:pt>
                <c:pt idx="12">
                  <c:v>121</c:v>
                </c:pt>
                <c:pt idx="13">
                  <c:v>105</c:v>
                </c:pt>
                <c:pt idx="14">
                  <c:v>65</c:v>
                </c:pt>
                <c:pt idx="15">
                  <c:v>65</c:v>
                </c:pt>
                <c:pt idx="16">
                  <c:v>103</c:v>
                </c:pt>
                <c:pt idx="17">
                  <c:v>80</c:v>
                </c:pt>
                <c:pt idx="18">
                  <c:v>69</c:v>
                </c:pt>
                <c:pt idx="19">
                  <c:v>68</c:v>
                </c:pt>
                <c:pt idx="20">
                  <c:v>77</c:v>
                </c:pt>
                <c:pt idx="21">
                  <c:v>35</c:v>
                </c:pt>
                <c:pt idx="22">
                  <c:v>29</c:v>
                </c:pt>
                <c:pt idx="23">
                  <c:v>57</c:v>
                </c:pt>
                <c:pt idx="24">
                  <c:v>59</c:v>
                </c:pt>
                <c:pt idx="25">
                  <c:v>61</c:v>
                </c:pt>
                <c:pt idx="26">
                  <c:v>38</c:v>
                </c:pt>
                <c:pt idx="27">
                  <c:v>40</c:v>
                </c:pt>
                <c:pt idx="28">
                  <c:v>19</c:v>
                </c:pt>
                <c:pt idx="29">
                  <c:v>27</c:v>
                </c:pt>
                <c:pt idx="30">
                  <c:v>41</c:v>
                </c:pt>
                <c:pt idx="31">
                  <c:v>28</c:v>
                </c:pt>
                <c:pt idx="32">
                  <c:v>38</c:v>
                </c:pt>
                <c:pt idx="33">
                  <c:v>20</c:v>
                </c:pt>
                <c:pt idx="34">
                  <c:v>28</c:v>
                </c:pt>
                <c:pt idx="35">
                  <c:v>15</c:v>
                </c:pt>
                <c:pt idx="36">
                  <c:v>12</c:v>
                </c:pt>
                <c:pt idx="37">
                  <c:v>14</c:v>
                </c:pt>
                <c:pt idx="38">
                  <c:v>23</c:v>
                </c:pt>
                <c:pt idx="39">
                  <c:v>15</c:v>
                </c:pt>
                <c:pt idx="40">
                  <c:v>18</c:v>
                </c:pt>
                <c:pt idx="41">
                  <c:v>10</c:v>
                </c:pt>
                <c:pt idx="42">
                  <c:v>8</c:v>
                </c:pt>
                <c:pt idx="43">
                  <c:v>5</c:v>
                </c:pt>
                <c:pt idx="44">
                  <c:v>9</c:v>
                </c:pt>
                <c:pt idx="45">
                  <c:v>9</c:v>
                </c:pt>
                <c:pt idx="46">
                  <c:v>6</c:v>
                </c:pt>
                <c:pt idx="47">
                  <c:v>24</c:v>
                </c:pt>
                <c:pt idx="48">
                  <c:v>8</c:v>
                </c:pt>
                <c:pt idx="49">
                  <c:v>10</c:v>
                </c:pt>
                <c:pt idx="50">
                  <c:v>2</c:v>
                </c:pt>
                <c:pt idx="51">
                  <c:v>8</c:v>
                </c:pt>
                <c:pt idx="52">
                  <c:v>7</c:v>
                </c:pt>
                <c:pt idx="53">
                  <c:v>7</c:v>
                </c:pt>
                <c:pt idx="54">
                  <c:v>4</c:v>
                </c:pt>
                <c:pt idx="55">
                  <c:v>6</c:v>
                </c:pt>
                <c:pt idx="56">
                  <c:v>2</c:v>
                </c:pt>
                <c:pt idx="57">
                  <c:v>2</c:v>
                </c:pt>
                <c:pt idx="58">
                  <c:v>7</c:v>
                </c:pt>
                <c:pt idx="59">
                  <c:v>2</c:v>
                </c:pt>
                <c:pt idx="60">
                  <c:v>10</c:v>
                </c:pt>
                <c:pt idx="61">
                  <c:v>4</c:v>
                </c:pt>
                <c:pt idx="62">
                  <c:v>2</c:v>
                </c:pt>
                <c:pt idx="63">
                  <c:v>2</c:v>
                </c:pt>
                <c:pt idx="64">
                  <c:v>3</c:v>
                </c:pt>
                <c:pt idx="65">
                  <c:v>2</c:v>
                </c:pt>
                <c:pt idx="67">
                  <c:v>8</c:v>
                </c:pt>
                <c:pt idx="68">
                  <c:v>4</c:v>
                </c:pt>
                <c:pt idx="69">
                  <c:v>5</c:v>
                </c:pt>
                <c:pt idx="70">
                  <c:v>3</c:v>
                </c:pt>
                <c:pt idx="71">
                  <c:v>5</c:v>
                </c:pt>
                <c:pt idx="72">
                  <c:v>8</c:v>
                </c:pt>
                <c:pt idx="74">
                  <c:v>5</c:v>
                </c:pt>
                <c:pt idx="75">
                  <c:v>6</c:v>
                </c:pt>
                <c:pt idx="76">
                  <c:v>6</c:v>
                </c:pt>
                <c:pt idx="77">
                  <c:v>4</c:v>
                </c:pt>
                <c:pt idx="78">
                  <c:v>2</c:v>
                </c:pt>
                <c:pt idx="79">
                  <c:v>10</c:v>
                </c:pt>
                <c:pt idx="80">
                  <c:v>5</c:v>
                </c:pt>
                <c:pt idx="81">
                  <c:v>6</c:v>
                </c:pt>
                <c:pt idx="82">
                  <c:v>6</c:v>
                </c:pt>
                <c:pt idx="83">
                  <c:v>5</c:v>
                </c:pt>
                <c:pt idx="84">
                  <c:v>6</c:v>
                </c:pt>
                <c:pt idx="85">
                  <c:v>8</c:v>
                </c:pt>
                <c:pt idx="86">
                  <c:v>14</c:v>
                </c:pt>
                <c:pt idx="87">
                  <c:v>3</c:v>
                </c:pt>
                <c:pt idx="88">
                  <c:v>7</c:v>
                </c:pt>
                <c:pt idx="89">
                  <c:v>11</c:v>
                </c:pt>
                <c:pt idx="90">
                  <c:v>4</c:v>
                </c:pt>
                <c:pt idx="91">
                  <c:v>5</c:v>
                </c:pt>
                <c:pt idx="92">
                  <c:v>4</c:v>
                </c:pt>
                <c:pt idx="93">
                  <c:v>9</c:v>
                </c:pt>
                <c:pt idx="94">
                  <c:v>3</c:v>
                </c:pt>
                <c:pt idx="95">
                  <c:v>12</c:v>
                </c:pt>
                <c:pt idx="96">
                  <c:v>3</c:v>
                </c:pt>
                <c:pt idx="97">
                  <c:v>9</c:v>
                </c:pt>
                <c:pt idx="98">
                  <c:v>6</c:v>
                </c:pt>
                <c:pt idx="99">
                  <c:v>2</c:v>
                </c:pt>
                <c:pt idx="100">
                  <c:v>7</c:v>
                </c:pt>
                <c:pt idx="101">
                  <c:v>7</c:v>
                </c:pt>
                <c:pt idx="102">
                  <c:v>7</c:v>
                </c:pt>
                <c:pt idx="103">
                  <c:v>5</c:v>
                </c:pt>
                <c:pt idx="104">
                  <c:v>6</c:v>
                </c:pt>
                <c:pt idx="105">
                  <c:v>9</c:v>
                </c:pt>
                <c:pt idx="106">
                  <c:v>5</c:v>
                </c:pt>
                <c:pt idx="107">
                  <c:v>10</c:v>
                </c:pt>
                <c:pt idx="108">
                  <c:v>7</c:v>
                </c:pt>
                <c:pt idx="109">
                  <c:v>9</c:v>
                </c:pt>
                <c:pt idx="110">
                  <c:v>10</c:v>
                </c:pt>
                <c:pt idx="111">
                  <c:v>10</c:v>
                </c:pt>
                <c:pt idx="112">
                  <c:v>6</c:v>
                </c:pt>
                <c:pt idx="113">
                  <c:v>6</c:v>
                </c:pt>
                <c:pt idx="114">
                  <c:v>8</c:v>
                </c:pt>
                <c:pt idx="115">
                  <c:v>11</c:v>
                </c:pt>
                <c:pt idx="116">
                  <c:v>10</c:v>
                </c:pt>
                <c:pt idx="117">
                  <c:v>7</c:v>
                </c:pt>
                <c:pt idx="118">
                  <c:v>7</c:v>
                </c:pt>
                <c:pt idx="119">
                  <c:v>5</c:v>
                </c:pt>
                <c:pt idx="120">
                  <c:v>3</c:v>
                </c:pt>
                <c:pt idx="121">
                  <c:v>4</c:v>
                </c:pt>
                <c:pt idx="122">
                  <c:v>9</c:v>
                </c:pt>
                <c:pt idx="123">
                  <c:v>15</c:v>
                </c:pt>
                <c:pt idx="124">
                  <c:v>10</c:v>
                </c:pt>
                <c:pt idx="125">
                  <c:v>14</c:v>
                </c:pt>
                <c:pt idx="126">
                  <c:v>7</c:v>
                </c:pt>
                <c:pt idx="127">
                  <c:v>10</c:v>
                </c:pt>
                <c:pt idx="128">
                  <c:v>17</c:v>
                </c:pt>
                <c:pt idx="129">
                  <c:v>13</c:v>
                </c:pt>
                <c:pt idx="130">
                  <c:v>15</c:v>
                </c:pt>
                <c:pt idx="131">
                  <c:v>16</c:v>
                </c:pt>
                <c:pt idx="132">
                  <c:v>13</c:v>
                </c:pt>
                <c:pt idx="133">
                  <c:v>12</c:v>
                </c:pt>
                <c:pt idx="134">
                  <c:v>17</c:v>
                </c:pt>
                <c:pt idx="135">
                  <c:v>29</c:v>
                </c:pt>
                <c:pt idx="136">
                  <c:v>23</c:v>
                </c:pt>
                <c:pt idx="137">
                  <c:v>17</c:v>
                </c:pt>
                <c:pt idx="138">
                  <c:v>17</c:v>
                </c:pt>
                <c:pt idx="139">
                  <c:v>21</c:v>
                </c:pt>
                <c:pt idx="140">
                  <c:v>4</c:v>
                </c:pt>
              </c:numCache>
            </c:numRef>
          </c:val>
          <c:extLst>
            <c:ext xmlns:c16="http://schemas.microsoft.com/office/drawing/2014/chart" uri="{C3380CC4-5D6E-409C-BE32-E72D297353CC}">
              <c16:uniqueId val="{00000000-FD60-4826-BB40-44692634279D}"/>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0.89428737600640407</c:v>
                </c:pt>
                <c:pt idx="107">
                  <c:v>1.43949015545049</c:v>
                </c:pt>
                <c:pt idx="108">
                  <c:v>2.0075285883612706</c:v>
                </c:pt>
                <c:pt idx="109">
                  <c:v>2.5905349173461092</c:v>
                </c:pt>
                <c:pt idx="110">
                  <c:v>3.1807674332337905</c:v>
                </c:pt>
                <c:pt idx="111">
                  <c:v>3.8185348944522604</c:v>
                </c:pt>
                <c:pt idx="112">
                  <c:v>4.486541308340569</c:v>
                </c:pt>
                <c:pt idx="113">
                  <c:v>5.163843257871183</c:v>
                </c:pt>
                <c:pt idx="114">
                  <c:v>5.8357611096200648</c:v>
                </c:pt>
                <c:pt idx="115">
                  <c:v>6.4924226291251541</c:v>
                </c:pt>
                <c:pt idx="116">
                  <c:v>7.1274357303268969</c:v>
                </c:pt>
                <c:pt idx="117">
                  <c:v>7.7374730965510379</c:v>
                </c:pt>
                <c:pt idx="118">
                  <c:v>8.3206275638589204</c:v>
                </c:pt>
                <c:pt idx="119">
                  <c:v>8.8761322660299449</c:v>
                </c:pt>
                <c:pt idx="120">
                  <c:v>9.4042620895453766</c:v>
                </c:pt>
                <c:pt idx="121">
                  <c:v>9.9056271454953624</c:v>
                </c:pt>
                <c:pt idx="122">
                  <c:v>10.380814382325291</c:v>
                </c:pt>
                <c:pt idx="123">
                  <c:v>10.830955180597979</c:v>
                </c:pt>
                <c:pt idx="124">
                  <c:v>11.257430000414633</c:v>
                </c:pt>
                <c:pt idx="125">
                  <c:v>11.661611909036122</c:v>
                </c:pt>
                <c:pt idx="126">
                  <c:v>12.044867641369908</c:v>
                </c:pt>
                <c:pt idx="127">
                  <c:v>12.408602744267107</c:v>
                </c:pt>
                <c:pt idx="128">
                  <c:v>12.75425073806155</c:v>
                </c:pt>
                <c:pt idx="129">
                  <c:v>13.083070558219418</c:v>
                </c:pt>
                <c:pt idx="130">
                  <c:v>13.396389378319267</c:v>
                </c:pt>
                <c:pt idx="131">
                  <c:v>13.695290242476339</c:v>
                </c:pt>
                <c:pt idx="132">
                  <c:v>13.980872145163318</c:v>
                </c:pt>
                <c:pt idx="133">
                  <c:v>14.254161757189333</c:v>
                </c:pt>
                <c:pt idx="134">
                  <c:v>14.516083555264249</c:v>
                </c:pt>
                <c:pt idx="135">
                  <c:v>14.76766455735828</c:v>
                </c:pt>
                <c:pt idx="136">
                  <c:v>15.009722209648789</c:v>
                </c:pt>
                <c:pt idx="137">
                  <c:v>15.243002924349316</c:v>
                </c:pt>
                <c:pt idx="138">
                  <c:v>15.46817425329365</c:v>
                </c:pt>
                <c:pt idx="139">
                  <c:v>15.685850308004092</c:v>
                </c:pt>
                <c:pt idx="140">
                  <c:v>15.89661908914859</c:v>
                </c:pt>
                <c:pt idx="141">
                  <c:v>16.101018663789237</c:v>
                </c:pt>
                <c:pt idx="142">
                  <c:v>16.29910673552811</c:v>
                </c:pt>
                <c:pt idx="143">
                  <c:v>16.491006021956551</c:v>
                </c:pt>
                <c:pt idx="144">
                  <c:v>16.676847875694648</c:v>
                </c:pt>
                <c:pt idx="145">
                  <c:v>16.856824121005481</c:v>
                </c:pt>
                <c:pt idx="146">
                  <c:v>17.031107297231067</c:v>
                </c:pt>
                <c:pt idx="147">
                  <c:v>17.199772308338968</c:v>
                </c:pt>
                <c:pt idx="148">
                  <c:v>17.362821906972023</c:v>
                </c:pt>
                <c:pt idx="149">
                  <c:v>17.520212631086576</c:v>
                </c:pt>
                <c:pt idx="150">
                  <c:v>17.671882613935971</c:v>
                </c:pt>
                <c:pt idx="151">
                  <c:v>17.817759821087474</c:v>
                </c:pt>
                <c:pt idx="152">
                  <c:v>17.957765900440695</c:v>
                </c:pt>
                <c:pt idx="153">
                  <c:v>18.091811832348132</c:v>
                </c:pt>
                <c:pt idx="154">
                  <c:v>18.219797754137737</c:v>
                </c:pt>
                <c:pt idx="155">
                  <c:v>18.341611874481366</c:v>
                </c:pt>
                <c:pt idx="156">
                  <c:v>18.457133027763426</c:v>
                </c:pt>
              </c:numCache>
            </c:numRef>
          </c:val>
          <c:smooth val="0"/>
          <c:extLst>
            <c:ext xmlns:c16="http://schemas.microsoft.com/office/drawing/2014/chart" uri="{C3380CC4-5D6E-409C-BE32-E72D297353CC}">
              <c16:uniqueId val="{00000002-FD60-4826-BB40-44692634279D}"/>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1.2096781576222666</c:v>
                </c:pt>
                <c:pt idx="107">
                  <c:v>2.11394884219066</c:v>
                </c:pt>
                <c:pt idx="108">
                  <c:v>3.0866060025785655</c:v>
                </c:pt>
                <c:pt idx="109">
                  <c:v>4.1196380322464146</c:v>
                </c:pt>
                <c:pt idx="110">
                  <c:v>5.2050227829036997</c:v>
                </c:pt>
                <c:pt idx="111">
                  <c:v>6.4075634193778326</c:v>
                </c:pt>
                <c:pt idx="112">
                  <c:v>7.7064149535161901</c:v>
                </c:pt>
                <c:pt idx="113">
                  <c:v>9.0731561750194984</c:v>
                </c:pt>
                <c:pt idx="114">
                  <c:v>10.488112699317629</c:v>
                </c:pt>
                <c:pt idx="115">
                  <c:v>11.938476340654841</c:v>
                </c:pt>
                <c:pt idx="116">
                  <c:v>13.416516741837746</c:v>
                </c:pt>
                <c:pt idx="117">
                  <c:v>14.918854137643248</c:v>
                </c:pt>
                <c:pt idx="118">
                  <c:v>16.44419250368891</c:v>
                </c:pt>
                <c:pt idx="119">
                  <c:v>17.992816964985142</c:v>
                </c:pt>
                <c:pt idx="120">
                  <c:v>19.566532713823218</c:v>
                </c:pt>
                <c:pt idx="121">
                  <c:v>21.1677057086868</c:v>
                </c:pt>
                <c:pt idx="122">
                  <c:v>22.798762180241869</c:v>
                </c:pt>
                <c:pt idx="123">
                  <c:v>24.462602903261502</c:v>
                </c:pt>
                <c:pt idx="124">
                  <c:v>26.162727422856758</c:v>
                </c:pt>
                <c:pt idx="125">
                  <c:v>27.902978361676265</c:v>
                </c:pt>
                <c:pt idx="126">
                  <c:v>29.687136288721415</c:v>
                </c:pt>
                <c:pt idx="127">
                  <c:v>31.51901546974003</c:v>
                </c:pt>
                <c:pt idx="128">
                  <c:v>33.402748713098347</c:v>
                </c:pt>
                <c:pt idx="129">
                  <c:v>35.342358096319096</c:v>
                </c:pt>
                <c:pt idx="130">
                  <c:v>37.342000685101127</c:v>
                </c:pt>
                <c:pt idx="131">
                  <c:v>39.405663486893474</c:v>
                </c:pt>
                <c:pt idx="132">
                  <c:v>41.53739874668743</c:v>
                </c:pt>
                <c:pt idx="133">
                  <c:v>43.741272245751404</c:v>
                </c:pt>
                <c:pt idx="134">
                  <c:v>46.02133765035498</c:v>
                </c:pt>
                <c:pt idx="135">
                  <c:v>48.381704812222104</c:v>
                </c:pt>
                <c:pt idx="136">
                  <c:v>50.826404947070493</c:v>
                </c:pt>
                <c:pt idx="137">
                  <c:v>53.359540467205122</c:v>
                </c:pt>
                <c:pt idx="138">
                  <c:v>55.985238491114856</c:v>
                </c:pt>
                <c:pt idx="139">
                  <c:v>58.707677951415576</c:v>
                </c:pt>
                <c:pt idx="140">
                  <c:v>61.531128578827719</c:v>
                </c:pt>
                <c:pt idx="141">
                  <c:v>64.459925560396371</c:v>
                </c:pt>
                <c:pt idx="142">
                  <c:v>67.498429697880425</c:v>
                </c:pt>
                <c:pt idx="143">
                  <c:v>70.651094667689122</c:v>
                </c:pt>
                <c:pt idx="144">
                  <c:v>73.922474420854513</c:v>
                </c:pt>
                <c:pt idx="145">
                  <c:v>77.317229184962358</c:v>
                </c:pt>
                <c:pt idx="146">
                  <c:v>80.840131006600018</c:v>
                </c:pt>
                <c:pt idx="147">
                  <c:v>84.496069073789428</c:v>
                </c:pt>
                <c:pt idx="148">
                  <c:v>88.290054820612667</c:v>
                </c:pt>
                <c:pt idx="149">
                  <c:v>92.227226750892541</c:v>
                </c:pt>
                <c:pt idx="150">
                  <c:v>96.312854919973077</c:v>
                </c:pt>
                <c:pt idx="151">
                  <c:v>100.55234502455259</c:v>
                </c:pt>
                <c:pt idx="152">
                  <c:v>104.95124206623939</c:v>
                </c:pt>
                <c:pt idx="153">
                  <c:v>109.51523356416834</c:v>
                </c:pt>
                <c:pt idx="154">
                  <c:v>114.25015229588981</c:v>
                </c:pt>
                <c:pt idx="155">
                  <c:v>119.16197854911213</c:v>
                </c:pt>
                <c:pt idx="156">
                  <c:v>124.25684186419504</c:v>
                </c:pt>
              </c:numCache>
            </c:numRef>
          </c:val>
          <c:smooth val="0"/>
          <c:extLst>
            <c:ext xmlns:c16="http://schemas.microsoft.com/office/drawing/2014/chart" uri="{C3380CC4-5D6E-409C-BE32-E72D297353CC}">
              <c16:uniqueId val="{00000003-FD60-4826-BB40-44692634279D}"/>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0.58826275047948418</c:v>
                </c:pt>
                <c:pt idx="107">
                  <c:v>0.81267498282585127</c:v>
                </c:pt>
                <c:pt idx="108">
                  <c:v>1.0709708789688053</c:v>
                </c:pt>
                <c:pt idx="109">
                  <c:v>1.3522876374224184</c:v>
                </c:pt>
                <c:pt idx="110">
                  <c:v>1.6441168885827979</c:v>
                </c:pt>
                <c:pt idx="111">
                  <c:v>1.9376341104540957</c:v>
                </c:pt>
                <c:pt idx="112">
                  <c:v>2.2250569849308564</c:v>
                </c:pt>
                <c:pt idx="113">
                  <c:v>2.4999937755089237</c:v>
                </c:pt>
                <c:pt idx="114">
                  <c:v>2.7567458385344112</c:v>
                </c:pt>
                <c:pt idx="115">
                  <c:v>2.9910086940250808</c:v>
                </c:pt>
                <c:pt idx="116">
                  <c:v>3.2007947391863896</c:v>
                </c:pt>
                <c:pt idx="117">
                  <c:v>3.3884927363575885</c:v>
                </c:pt>
                <c:pt idx="118">
                  <c:v>3.5570454948789889</c:v>
                </c:pt>
                <c:pt idx="119">
                  <c:v>3.7049995868034644</c:v>
                </c:pt>
                <c:pt idx="120">
                  <c:v>3.8309100716175495</c:v>
                </c:pt>
                <c:pt idx="121">
                  <c:v>3.9337683709779272</c:v>
                </c:pt>
                <c:pt idx="122">
                  <c:v>4.0136915628133325</c:v>
                </c:pt>
                <c:pt idx="123">
                  <c:v>4.07184140032376</c:v>
                </c:pt>
                <c:pt idx="124">
                  <c:v>4.1115870866666997</c:v>
                </c:pt>
                <c:pt idx="125">
                  <c:v>4.1359246778044367</c:v>
                </c:pt>
                <c:pt idx="126">
                  <c:v>4.1439522327015625</c:v>
                </c:pt>
                <c:pt idx="127">
                  <c:v>4.1346817867922114</c:v>
                </c:pt>
                <c:pt idx="128">
                  <c:v>4.10821371380342</c:v>
                </c:pt>
                <c:pt idx="129">
                  <c:v>4.0652217113853881</c:v>
                </c:pt>
                <c:pt idx="130">
                  <c:v>4.0068521783429647</c:v>
                </c:pt>
                <c:pt idx="131">
                  <c:v>3.9350913626000734</c:v>
                </c:pt>
                <c:pt idx="132">
                  <c:v>3.8515483766420262</c:v>
                </c:pt>
                <c:pt idx="133">
                  <c:v>3.7562369793337753</c:v>
                </c:pt>
                <c:pt idx="134">
                  <c:v>3.649034345351251</c:v>
                </c:pt>
                <c:pt idx="135">
                  <c:v>3.5300290359625111</c:v>
                </c:pt>
                <c:pt idx="136">
                  <c:v>3.3996018075010257</c:v>
                </c:pt>
                <c:pt idx="137">
                  <c:v>3.2586495610336756</c:v>
                </c:pt>
                <c:pt idx="138">
                  <c:v>3.1084480895985367</c:v>
                </c:pt>
                <c:pt idx="139">
                  <c:v>2.9496538869022375</c:v>
                </c:pt>
                <c:pt idx="140">
                  <c:v>2.7822887674007548</c:v>
                </c:pt>
                <c:pt idx="141">
                  <c:v>2.60624206220717</c:v>
                </c:pt>
                <c:pt idx="142">
                  <c:v>2.4213815102445411</c:v>
                </c:pt>
                <c:pt idx="143">
                  <c:v>2.2277375564478321</c:v>
                </c:pt>
                <c:pt idx="144">
                  <c:v>2.0256777438950708</c:v>
                </c:pt>
                <c:pt idx="145">
                  <c:v>1.8160728570689431</c:v>
                </c:pt>
                <c:pt idx="146">
                  <c:v>1.5995921345344728</c:v>
                </c:pt>
                <c:pt idx="147">
                  <c:v>1.3762507641255839</c:v>
                </c:pt>
                <c:pt idx="148">
                  <c:v>1.1460688202384377</c:v>
                </c:pt>
                <c:pt idx="149">
                  <c:v>0.90929409317658116</c:v>
                </c:pt>
                <c:pt idx="150">
                  <c:v>0.66585419481606056</c:v>
                </c:pt>
                <c:pt idx="151">
                  <c:v>0.41597409031572585</c:v>
                </c:pt>
                <c:pt idx="152">
                  <c:v>0.1601847801682057</c:v>
                </c:pt>
                <c:pt idx="153">
                  <c:v>0</c:v>
                </c:pt>
                <c:pt idx="154">
                  <c:v>0</c:v>
                </c:pt>
                <c:pt idx="155">
                  <c:v>0</c:v>
                </c:pt>
                <c:pt idx="156">
                  <c:v>0</c:v>
                </c:pt>
              </c:numCache>
            </c:numRef>
          </c:val>
          <c:smooth val="0"/>
          <c:extLst>
            <c:ext xmlns:c16="http://schemas.microsoft.com/office/drawing/2014/chart" uri="{C3380CC4-5D6E-409C-BE32-E72D297353CC}">
              <c16:uniqueId val="{00000005-FD60-4826-BB40-44692634279D}"/>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2460</c:v>
                </c:pt>
                <c:pt idx="1">
                  <c:v>2485</c:v>
                </c:pt>
                <c:pt idx="2">
                  <c:v>2677</c:v>
                </c:pt>
                <c:pt idx="3">
                  <c:v>2525</c:v>
                </c:pt>
                <c:pt idx="4">
                  <c:v>2351</c:v>
                </c:pt>
                <c:pt idx="5">
                  <c:v>2220</c:v>
                </c:pt>
                <c:pt idx="6">
                  <c:v>2126</c:v>
                </c:pt>
                <c:pt idx="7">
                  <c:v>1884</c:v>
                </c:pt>
                <c:pt idx="8">
                  <c:v>1865</c:v>
                </c:pt>
                <c:pt idx="9">
                  <c:v>1984</c:v>
                </c:pt>
                <c:pt idx="10">
                  <c:v>1830</c:v>
                </c:pt>
                <c:pt idx="11">
                  <c:v>1721</c:v>
                </c:pt>
                <c:pt idx="12">
                  <c:v>1622</c:v>
                </c:pt>
                <c:pt idx="13">
                  <c:v>1531</c:v>
                </c:pt>
                <c:pt idx="14">
                  <c:v>1329</c:v>
                </c:pt>
                <c:pt idx="15">
                  <c:v>1315</c:v>
                </c:pt>
                <c:pt idx="16">
                  <c:v>1395</c:v>
                </c:pt>
                <c:pt idx="17">
                  <c:v>1258</c:v>
                </c:pt>
                <c:pt idx="18">
                  <c:v>1149</c:v>
                </c:pt>
                <c:pt idx="19">
                  <c:v>1060</c:v>
                </c:pt>
                <c:pt idx="20">
                  <c:v>1011</c:v>
                </c:pt>
                <c:pt idx="21">
                  <c:v>867</c:v>
                </c:pt>
                <c:pt idx="22">
                  <c:v>848</c:v>
                </c:pt>
                <c:pt idx="23">
                  <c:v>879</c:v>
                </c:pt>
                <c:pt idx="24">
                  <c:v>787</c:v>
                </c:pt>
                <c:pt idx="25">
                  <c:v>762</c:v>
                </c:pt>
                <c:pt idx="26">
                  <c:v>669</c:v>
                </c:pt>
                <c:pt idx="27">
                  <c:v>612</c:v>
                </c:pt>
                <c:pt idx="28">
                  <c:v>513</c:v>
                </c:pt>
                <c:pt idx="29">
                  <c:v>511</c:v>
                </c:pt>
                <c:pt idx="30">
                  <c:v>549</c:v>
                </c:pt>
                <c:pt idx="31">
                  <c:v>474</c:v>
                </c:pt>
                <c:pt idx="32">
                  <c:v>438</c:v>
                </c:pt>
                <c:pt idx="33">
                  <c:v>389</c:v>
                </c:pt>
                <c:pt idx="34">
                  <c:v>362</c:v>
                </c:pt>
                <c:pt idx="35">
                  <c:v>298</c:v>
                </c:pt>
                <c:pt idx="36">
                  <c:v>298</c:v>
                </c:pt>
                <c:pt idx="37">
                  <c:v>298</c:v>
                </c:pt>
                <c:pt idx="38">
                  <c:v>282</c:v>
                </c:pt>
                <c:pt idx="39">
                  <c:v>254</c:v>
                </c:pt>
                <c:pt idx="40">
                  <c:v>232</c:v>
                </c:pt>
                <c:pt idx="41">
                  <c:v>183</c:v>
                </c:pt>
                <c:pt idx="42">
                  <c:v>158</c:v>
                </c:pt>
                <c:pt idx="43">
                  <c:v>152</c:v>
                </c:pt>
                <c:pt idx="44">
                  <c:v>168</c:v>
                </c:pt>
                <c:pt idx="45">
                  <c:v>140</c:v>
                </c:pt>
                <c:pt idx="46">
                  <c:v>120</c:v>
                </c:pt>
                <c:pt idx="47">
                  <c:v>119</c:v>
                </c:pt>
                <c:pt idx="48">
                  <c:v>110</c:v>
                </c:pt>
                <c:pt idx="49">
                  <c:v>86</c:v>
                </c:pt>
                <c:pt idx="50">
                  <c:v>83</c:v>
                </c:pt>
                <c:pt idx="51">
                  <c:v>88</c:v>
                </c:pt>
                <c:pt idx="52">
                  <c:v>85</c:v>
                </c:pt>
                <c:pt idx="53">
                  <c:v>81</c:v>
                </c:pt>
                <c:pt idx="54">
                  <c:v>79</c:v>
                </c:pt>
                <c:pt idx="55">
                  <c:v>66</c:v>
                </c:pt>
                <c:pt idx="56">
                  <c:v>55</c:v>
                </c:pt>
                <c:pt idx="57">
                  <c:v>56</c:v>
                </c:pt>
                <c:pt idx="58">
                  <c:v>62</c:v>
                </c:pt>
                <c:pt idx="59">
                  <c:v>57</c:v>
                </c:pt>
                <c:pt idx="60">
                  <c:v>58</c:v>
                </c:pt>
                <c:pt idx="61">
                  <c:v>49</c:v>
                </c:pt>
                <c:pt idx="62">
                  <c:v>39</c:v>
                </c:pt>
                <c:pt idx="63">
                  <c:v>28</c:v>
                </c:pt>
                <c:pt idx="64">
                  <c:v>31</c:v>
                </c:pt>
                <c:pt idx="65">
                  <c:v>33</c:v>
                </c:pt>
                <c:pt idx="66">
                  <c:v>32</c:v>
                </c:pt>
                <c:pt idx="67">
                  <c:v>42</c:v>
                </c:pt>
                <c:pt idx="68">
                  <c:v>39</c:v>
                </c:pt>
                <c:pt idx="69">
                  <c:v>35</c:v>
                </c:pt>
                <c:pt idx="70">
                  <c:v>25</c:v>
                </c:pt>
                <c:pt idx="71">
                  <c:v>25</c:v>
                </c:pt>
                <c:pt idx="72">
                  <c:v>34</c:v>
                </c:pt>
                <c:pt idx="73">
                  <c:v>32</c:v>
                </c:pt>
                <c:pt idx="74">
                  <c:v>29</c:v>
                </c:pt>
                <c:pt idx="75">
                  <c:v>30</c:v>
                </c:pt>
                <c:pt idx="76">
                  <c:v>32</c:v>
                </c:pt>
                <c:pt idx="77">
                  <c:v>30</c:v>
                </c:pt>
                <c:pt idx="78">
                  <c:v>32</c:v>
                </c:pt>
                <c:pt idx="79">
                  <c:v>44</c:v>
                </c:pt>
                <c:pt idx="80">
                  <c:v>41</c:v>
                </c:pt>
                <c:pt idx="81">
                  <c:v>41</c:v>
                </c:pt>
                <c:pt idx="82">
                  <c:v>41</c:v>
                </c:pt>
                <c:pt idx="83">
                  <c:v>40</c:v>
                </c:pt>
                <c:pt idx="84">
                  <c:v>38</c:v>
                </c:pt>
                <c:pt idx="85">
                  <c:v>45</c:v>
                </c:pt>
                <c:pt idx="86">
                  <c:v>57</c:v>
                </c:pt>
                <c:pt idx="87">
                  <c:v>52</c:v>
                </c:pt>
                <c:pt idx="88">
                  <c:v>52</c:v>
                </c:pt>
                <c:pt idx="89">
                  <c:v>58</c:v>
                </c:pt>
                <c:pt idx="90">
                  <c:v>58</c:v>
                </c:pt>
                <c:pt idx="91">
                  <c:v>54</c:v>
                </c:pt>
                <c:pt idx="92">
                  <c:v>48</c:v>
                </c:pt>
                <c:pt idx="93">
                  <c:v>57</c:v>
                </c:pt>
                <c:pt idx="94">
                  <c:v>51</c:v>
                </c:pt>
                <c:pt idx="95">
                  <c:v>55</c:v>
                </c:pt>
                <c:pt idx="96">
                  <c:v>55</c:v>
                </c:pt>
                <c:pt idx="97">
                  <c:v>56</c:v>
                </c:pt>
                <c:pt idx="98">
                  <c:v>56</c:v>
                </c:pt>
                <c:pt idx="99">
                  <c:v>55</c:v>
                </c:pt>
                <c:pt idx="100">
                  <c:v>64</c:v>
                </c:pt>
                <c:pt idx="101">
                  <c:v>58</c:v>
                </c:pt>
                <c:pt idx="102">
                  <c:v>61</c:v>
                </c:pt>
                <c:pt idx="103">
                  <c:v>61</c:v>
                </c:pt>
                <c:pt idx="104">
                  <c:v>54</c:v>
                </c:pt>
                <c:pt idx="105">
                  <c:v>57</c:v>
                </c:pt>
                <c:pt idx="106">
                  <c:v>58</c:v>
                </c:pt>
                <c:pt idx="107">
                  <c:v>69</c:v>
                </c:pt>
                <c:pt idx="108">
                  <c:v>69</c:v>
                </c:pt>
                <c:pt idx="109">
                  <c:v>72</c:v>
                </c:pt>
                <c:pt idx="110">
                  <c:v>69</c:v>
                </c:pt>
                <c:pt idx="111">
                  <c:v>71</c:v>
                </c:pt>
                <c:pt idx="112">
                  <c:v>60</c:v>
                </c:pt>
                <c:pt idx="113">
                  <c:v>65</c:v>
                </c:pt>
                <c:pt idx="114">
                  <c:v>69</c:v>
                </c:pt>
                <c:pt idx="115">
                  <c:v>68</c:v>
                </c:pt>
                <c:pt idx="116">
                  <c:v>70</c:v>
                </c:pt>
                <c:pt idx="117">
                  <c:v>68</c:v>
                </c:pt>
                <c:pt idx="118">
                  <c:v>61</c:v>
                </c:pt>
                <c:pt idx="119">
                  <c:v>55</c:v>
                </c:pt>
                <c:pt idx="120">
                  <c:v>53</c:v>
                </c:pt>
                <c:pt idx="121">
                  <c:v>59</c:v>
                </c:pt>
                <c:pt idx="122">
                  <c:v>54</c:v>
                </c:pt>
                <c:pt idx="123">
                  <c:v>61</c:v>
                </c:pt>
                <c:pt idx="124">
                  <c:v>63</c:v>
                </c:pt>
                <c:pt idx="125">
                  <c:v>63</c:v>
                </c:pt>
                <c:pt idx="126">
                  <c:v>60</c:v>
                </c:pt>
                <c:pt idx="127">
                  <c:v>67</c:v>
                </c:pt>
                <c:pt idx="128">
                  <c:v>91</c:v>
                </c:pt>
                <c:pt idx="129">
                  <c:v>96</c:v>
                </c:pt>
                <c:pt idx="130">
                  <c:v>101</c:v>
                </c:pt>
                <c:pt idx="131">
                  <c:v>112</c:v>
                </c:pt>
                <c:pt idx="132">
                  <c:v>116</c:v>
                </c:pt>
                <c:pt idx="133">
                  <c:v>115</c:v>
                </c:pt>
                <c:pt idx="134">
                  <c:v>128</c:v>
                </c:pt>
                <c:pt idx="135">
                  <c:v>157</c:v>
                </c:pt>
                <c:pt idx="136">
                  <c:v>159</c:v>
                </c:pt>
                <c:pt idx="137">
                  <c:v>164</c:v>
                </c:pt>
                <c:pt idx="138">
                  <c:v>159</c:v>
                </c:pt>
                <c:pt idx="139">
                  <c:v>169</c:v>
                </c:pt>
                <c:pt idx="140">
                  <c:v>146</c:v>
                </c:pt>
              </c:numCache>
            </c:numRef>
          </c:val>
          <c:extLst>
            <c:ext xmlns:c16="http://schemas.microsoft.com/office/drawing/2014/chart" uri="{C3380CC4-5D6E-409C-BE32-E72D297353CC}">
              <c16:uniqueId val="{00000007-EDB9-4256-AE28-72A2561918A2}"/>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8.4389662226081441</c:v>
                </c:pt>
                <c:pt idx="107">
                  <c:v>9.323797869198529</c:v>
                </c:pt>
                <c:pt idx="108">
                  <c:v>10.800520880777185</c:v>
                </c:pt>
                <c:pt idx="109">
                  <c:v>12.831284851936545</c:v>
                </c:pt>
                <c:pt idx="110">
                  <c:v>15.371138083933204</c:v>
                </c:pt>
                <c:pt idx="111">
                  <c:v>18.406715104860893</c:v>
                </c:pt>
                <c:pt idx="112">
                  <c:v>21.910586747236678</c:v>
                </c:pt>
                <c:pt idx="113">
                  <c:v>25.841639963546356</c:v>
                </c:pt>
                <c:pt idx="114">
                  <c:v>30.150689202945784</c:v>
                </c:pt>
                <c:pt idx="115">
                  <c:v>34.783773406749049</c:v>
                </c:pt>
                <c:pt idx="116">
                  <c:v>39.686091381052563</c:v>
                </c:pt>
                <c:pt idx="117">
                  <c:v>44.805248160143776</c:v>
                </c:pt>
                <c:pt idx="118">
                  <c:v>50.092373383745894</c:v>
                </c:pt>
                <c:pt idx="119">
                  <c:v>55.502295146455396</c:v>
                </c:pt>
                <c:pt idx="120">
                  <c:v>60.993338030701011</c:v>
                </c:pt>
                <c:pt idx="121">
                  <c:v>66.526427537833683</c:v>
                </c:pt>
                <c:pt idx="122">
                  <c:v>72.064916773575931</c:v>
                </c:pt>
                <c:pt idx="123">
                  <c:v>77.576922027580849</c:v>
                </c:pt>
                <c:pt idx="124">
                  <c:v>83.03613715521675</c:v>
                </c:pt>
                <c:pt idx="125">
                  <c:v>88.421298208440049</c:v>
                </c:pt>
                <c:pt idx="126">
                  <c:v>93.715121814828819</c:v>
                </c:pt>
                <c:pt idx="127">
                  <c:v>98.90435535237674</c:v>
                </c:pt>
                <c:pt idx="128">
                  <c:v>103.97926590472412</c:v>
                </c:pt>
                <c:pt idx="129">
                  <c:v>108.93304555596049</c:v>
                </c:pt>
                <c:pt idx="130">
                  <c:v>113.76146968685572</c:v>
                </c:pt>
                <c:pt idx="131">
                  <c:v>118.46206151212726</c:v>
                </c:pt>
                <c:pt idx="132">
                  <c:v>123.03397404258891</c:v>
                </c:pt>
                <c:pt idx="133">
                  <c:v>127.47772899803243</c:v>
                </c:pt>
                <c:pt idx="134">
                  <c:v>131.79518202606229</c:v>
                </c:pt>
                <c:pt idx="135">
                  <c:v>135.9895390165496</c:v>
                </c:pt>
                <c:pt idx="136">
                  <c:v>140.06491684252023</c:v>
                </c:pt>
                <c:pt idx="137">
                  <c:v>144.02605206110081</c:v>
                </c:pt>
                <c:pt idx="138">
                  <c:v>147.87816541032248</c:v>
                </c:pt>
                <c:pt idx="139">
                  <c:v>151.62677718820834</c:v>
                </c:pt>
                <c:pt idx="140">
                  <c:v>155.27749448480205</c:v>
                </c:pt>
                <c:pt idx="141">
                  <c:v>158.83596487417643</c:v>
                </c:pt>
                <c:pt idx="142">
                  <c:v>162.30737434348794</c:v>
                </c:pt>
                <c:pt idx="143">
                  <c:v>165.69654601021179</c:v>
                </c:pt>
                <c:pt idx="144">
                  <c:v>169.0079823793422</c:v>
                </c:pt>
                <c:pt idx="145">
                  <c:v>172.24591937236798</c:v>
                </c:pt>
                <c:pt idx="146">
                  <c:v>175.4142809704033</c:v>
                </c:pt>
                <c:pt idx="147">
                  <c:v>178.51661780692422</c:v>
                </c:pt>
                <c:pt idx="148">
                  <c:v>181.55604618816631</c:v>
                </c:pt>
                <c:pt idx="149">
                  <c:v>184.53524865764098</c:v>
                </c:pt>
                <c:pt idx="150">
                  <c:v>187.45645430954079</c:v>
                </c:pt>
                <c:pt idx="151">
                  <c:v>190.32143203494758</c:v>
                </c:pt>
                <c:pt idx="152">
                  <c:v>193.13157108042134</c:v>
                </c:pt>
                <c:pt idx="153">
                  <c:v>195.88795492189269</c:v>
                </c:pt>
                <c:pt idx="154">
                  <c:v>198.59139973227889</c:v>
                </c:pt>
                <c:pt idx="155">
                  <c:v>201.24245045595569</c:v>
                </c:pt>
                <c:pt idx="156">
                  <c:v>203.84135385756491</c:v>
                </c:pt>
              </c:numCache>
            </c:numRef>
          </c:val>
          <c:smooth val="0"/>
          <c:extLst>
            <c:ext xmlns:c16="http://schemas.microsoft.com/office/drawing/2014/chart" uri="{C3380CC4-5D6E-409C-BE32-E72D297353CC}">
              <c16:uniqueId val="{00000001-8216-4360-A02D-44DD6057B4BC}"/>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9.4117449303192586</c:v>
                </c:pt>
                <c:pt idx="107">
                  <c:v>11.52327702941281</c:v>
                </c:pt>
                <c:pt idx="108">
                  <c:v>14.504190223999899</c:v>
                </c:pt>
                <c:pt idx="109">
                  <c:v>18.337990526459123</c:v>
                </c:pt>
                <c:pt idx="110">
                  <c:v>22.999036278901642</c:v>
                </c:pt>
                <c:pt idx="111">
                  <c:v>28.511779025868847</c:v>
                </c:pt>
                <c:pt idx="112">
                  <c:v>34.880214909789032</c:v>
                </c:pt>
                <c:pt idx="113">
                  <c:v>42.086070864295479</c:v>
                </c:pt>
                <c:pt idx="114">
                  <c:v>50.09736224686128</c:v>
                </c:pt>
                <c:pt idx="115">
                  <c:v>58.873583298221121</c:v>
                </c:pt>
                <c:pt idx="116">
                  <c:v>68.370997165773247</c:v>
                </c:pt>
                <c:pt idx="117">
                  <c:v>78.547228338427345</c:v>
                </c:pt>
                <c:pt idx="118">
                  <c:v>89.363068680070057</c:v>
                </c:pt>
                <c:pt idx="119">
                  <c:v>100.78321184543486</c:v>
                </c:pt>
                <c:pt idx="120">
                  <c:v>112.7764820281898</c:v>
                </c:pt>
                <c:pt idx="121">
                  <c:v>125.31475765155847</c:v>
                </c:pt>
                <c:pt idx="122">
                  <c:v>138.37240835082827</c:v>
                </c:pt>
                <c:pt idx="123">
                  <c:v>151.92900384927947</c:v>
                </c:pt>
                <c:pt idx="124">
                  <c:v>165.97108561469679</c:v>
                </c:pt>
                <c:pt idx="125">
                  <c:v>180.49205248650011</c:v>
                </c:pt>
                <c:pt idx="126">
                  <c:v>195.49081306174517</c:v>
                </c:pt>
                <c:pt idx="127">
                  <c:v>210.97177519307772</c:v>
                </c:pt>
                <c:pt idx="128">
                  <c:v>226.94463053595982</c:v>
                </c:pt>
                <c:pt idx="129">
                  <c:v>243.42363286655606</c:v>
                </c:pt>
                <c:pt idx="130">
                  <c:v>260.42719904942021</c:v>
                </c:pt>
                <c:pt idx="131">
                  <c:v>277.97692420461783</c:v>
                </c:pt>
                <c:pt idx="132">
                  <c:v>296.0973191285878</c:v>
                </c:pt>
                <c:pt idx="133">
                  <c:v>314.81560458183395</c:v>
                </c:pt>
                <c:pt idx="134">
                  <c:v>334.16184153842954</c:v>
                </c:pt>
                <c:pt idx="135">
                  <c:v>354.16889598459886</c:v>
                </c:pt>
                <c:pt idx="136">
                  <c:v>374.87196068499668</c:v>
                </c:pt>
                <c:pt idx="137">
                  <c:v>396.30826506905851</c:v>
                </c:pt>
                <c:pt idx="138">
                  <c:v>418.51696995641703</c:v>
                </c:pt>
                <c:pt idx="139">
                  <c:v>441.53896430291081</c:v>
                </c:pt>
                <c:pt idx="140">
                  <c:v>465.4166540192258</c:v>
                </c:pt>
                <c:pt idx="141">
                  <c:v>490.19392412837283</c:v>
                </c:pt>
                <c:pt idx="142">
                  <c:v>515.9160094902752</c:v>
                </c:pt>
                <c:pt idx="143">
                  <c:v>542.62957425309912</c:v>
                </c:pt>
                <c:pt idx="144">
                  <c:v>570.38272911887884</c:v>
                </c:pt>
                <c:pt idx="145">
                  <c:v>599.22503923095189</c:v>
                </c:pt>
                <c:pt idx="146">
                  <c:v>629.2075069877236</c:v>
                </c:pt>
                <c:pt idx="147">
                  <c:v>660.38262227365226</c:v>
                </c:pt>
                <c:pt idx="148">
                  <c:v>692.80437946748123</c:v>
                </c:pt>
                <c:pt idx="149">
                  <c:v>726.52835321675718</c:v>
                </c:pt>
                <c:pt idx="150">
                  <c:v>761.6117201594476</c:v>
                </c:pt>
                <c:pt idx="151">
                  <c:v>798.11327473143535</c:v>
                </c:pt>
                <c:pt idx="152">
                  <c:v>836.09355329179209</c:v>
                </c:pt>
                <c:pt idx="153">
                  <c:v>875.61495397487909</c:v>
                </c:pt>
                <c:pt idx="154">
                  <c:v>916.74183322497356</c:v>
                </c:pt>
                <c:pt idx="155">
                  <c:v>959.54056369822558</c:v>
                </c:pt>
                <c:pt idx="156">
                  <c:v>1004.0795462803572</c:v>
                </c:pt>
              </c:numCache>
            </c:numRef>
          </c:val>
          <c:smooth val="0"/>
          <c:extLst>
            <c:ext xmlns:c16="http://schemas.microsoft.com/office/drawing/2014/chart" uri="{C3380CC4-5D6E-409C-BE32-E72D297353CC}">
              <c16:uniqueId val="{00000002-8216-4360-A02D-44DD6057B4BC}"/>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6.3391386145981841</c:v>
                </c:pt>
                <c:pt idx="107">
                  <c:v>5.0418125944357968</c:v>
                </c:pt>
                <c:pt idx="108">
                  <c:v>4.2628961254006157</c:v>
                </c:pt>
                <c:pt idx="109">
                  <c:v>3.968614959093884</c:v>
                </c:pt>
                <c:pt idx="110">
                  <c:v>4.1156388298909548</c:v>
                </c:pt>
                <c:pt idx="111">
                  <c:v>4.6562828719540903</c:v>
                </c:pt>
                <c:pt idx="112">
                  <c:v>5.5394831906599933</c:v>
                </c:pt>
                <c:pt idx="113">
                  <c:v>6.7122432902224887</c:v>
                </c:pt>
                <c:pt idx="114">
                  <c:v>8.1206978569479844</c:v>
                </c:pt>
                <c:pt idx="115">
                  <c:v>9.7116152713269344</c:v>
                </c:pt>
                <c:pt idx="116">
                  <c:v>11.434760473558441</c:v>
                </c:pt>
                <c:pt idx="117">
                  <c:v>13.246620486720971</c:v>
                </c:pt>
                <c:pt idx="118">
                  <c:v>15.109896940571431</c:v>
                </c:pt>
                <c:pt idx="119">
                  <c:v>16.988375653512421</c:v>
                </c:pt>
                <c:pt idx="120">
                  <c:v>18.847736635047127</c:v>
                </c:pt>
                <c:pt idx="121">
                  <c:v>20.656818720224706</c:v>
                </c:pt>
                <c:pt idx="122">
                  <c:v>22.388609702782958</c:v>
                </c:pt>
                <c:pt idx="123">
                  <c:v>24.020619001374698</c:v>
                </c:pt>
                <c:pt idx="124">
                  <c:v>25.536768776328174</c:v>
                </c:pt>
                <c:pt idx="125">
                  <c:v>26.926655375295979</c:v>
                </c:pt>
                <c:pt idx="126">
                  <c:v>28.181068190945652</c:v>
                </c:pt>
                <c:pt idx="127">
                  <c:v>29.291567169756483</c:v>
                </c:pt>
                <c:pt idx="128">
                  <c:v>30.251089828490805</c:v>
                </c:pt>
                <c:pt idx="129">
                  <c:v>31.05428392303066</c:v>
                </c:pt>
                <c:pt idx="130">
                  <c:v>31.697909379884472</c:v>
                </c:pt>
                <c:pt idx="131">
                  <c:v>32.181662818792205</c:v>
                </c:pt>
                <c:pt idx="132">
                  <c:v>32.507605773093651</c:v>
                </c:pt>
                <c:pt idx="133">
                  <c:v>32.678221824052585</c:v>
                </c:pt>
                <c:pt idx="134">
                  <c:v>32.696087395024378</c:v>
                </c:pt>
                <c:pt idx="135">
                  <c:v>32.56398773117634</c:v>
                </c:pt>
                <c:pt idx="136">
                  <c:v>32.285083088261786</c:v>
                </c:pt>
                <c:pt idx="137">
                  <c:v>31.863327948885214</c:v>
                </c:pt>
                <c:pt idx="138">
                  <c:v>31.30374573705906</c:v>
                </c:pt>
                <c:pt idx="139">
                  <c:v>30.611645177141163</c:v>
                </c:pt>
                <c:pt idx="140">
                  <c:v>29.791994433510133</c:v>
                </c:pt>
                <c:pt idx="141">
                  <c:v>28.849279393465743</c:v>
                </c:pt>
                <c:pt idx="142">
                  <c:v>27.787484585706068</c:v>
                </c:pt>
                <c:pt idx="143">
                  <c:v>26.610248227245648</c:v>
                </c:pt>
                <c:pt idx="144">
                  <c:v>25.321201057542083</c:v>
                </c:pt>
                <c:pt idx="145">
                  <c:v>23.924423766674948</c:v>
                </c:pt>
                <c:pt idx="146">
                  <c:v>22.424232830791595</c:v>
                </c:pt>
                <c:pt idx="147">
                  <c:v>20.824532807752107</c:v>
                </c:pt>
                <c:pt idx="148">
                  <c:v>19.128821504138344</c:v>
                </c:pt>
                <c:pt idx="149">
                  <c:v>17.340453917698085</c:v>
                </c:pt>
                <c:pt idx="150">
                  <c:v>15.462360239124209</c:v>
                </c:pt>
                <c:pt idx="151">
                  <c:v>13.497382585003606</c:v>
                </c:pt>
                <c:pt idx="152">
                  <c:v>11.448587644176669</c:v>
                </c:pt>
                <c:pt idx="153">
                  <c:v>9.3192124730443311</c:v>
                </c:pt>
                <c:pt idx="154">
                  <c:v>7.1124413988169977</c:v>
                </c:pt>
                <c:pt idx="155">
                  <c:v>4.8314767631024012</c:v>
                </c:pt>
                <c:pt idx="156">
                  <c:v>2.479587715821097</c:v>
                </c:pt>
              </c:numCache>
            </c:numRef>
          </c:val>
          <c:smooth val="0"/>
          <c:extLst>
            <c:ext xmlns:c16="http://schemas.microsoft.com/office/drawing/2014/chart" uri="{C3380CC4-5D6E-409C-BE32-E72D297353CC}">
              <c16:uniqueId val="{00000006-EDB9-4256-AE28-72A2561918A2}"/>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550</c:v>
                </c:pt>
                <c:pt idx="1">
                  <c:v>555</c:v>
                </c:pt>
                <c:pt idx="2">
                  <c:v>560</c:v>
                </c:pt>
                <c:pt idx="3">
                  <c:v>540</c:v>
                </c:pt>
                <c:pt idx="4">
                  <c:v>498</c:v>
                </c:pt>
                <c:pt idx="5">
                  <c:v>462</c:v>
                </c:pt>
                <c:pt idx="6">
                  <c:v>437</c:v>
                </c:pt>
                <c:pt idx="7">
                  <c:v>410</c:v>
                </c:pt>
                <c:pt idx="8">
                  <c:v>414</c:v>
                </c:pt>
                <c:pt idx="9">
                  <c:v>421</c:v>
                </c:pt>
                <c:pt idx="10">
                  <c:v>399</c:v>
                </c:pt>
                <c:pt idx="11">
                  <c:v>376</c:v>
                </c:pt>
                <c:pt idx="12">
                  <c:v>365</c:v>
                </c:pt>
                <c:pt idx="13">
                  <c:v>338</c:v>
                </c:pt>
                <c:pt idx="14">
                  <c:v>304</c:v>
                </c:pt>
                <c:pt idx="15">
                  <c:v>300</c:v>
                </c:pt>
                <c:pt idx="16">
                  <c:v>292</c:v>
                </c:pt>
                <c:pt idx="17">
                  <c:v>275</c:v>
                </c:pt>
                <c:pt idx="18">
                  <c:v>246</c:v>
                </c:pt>
                <c:pt idx="19">
                  <c:v>216</c:v>
                </c:pt>
                <c:pt idx="20">
                  <c:v>190</c:v>
                </c:pt>
                <c:pt idx="21">
                  <c:v>186</c:v>
                </c:pt>
                <c:pt idx="22">
                  <c:v>184</c:v>
                </c:pt>
                <c:pt idx="23">
                  <c:v>180</c:v>
                </c:pt>
                <c:pt idx="24">
                  <c:v>159</c:v>
                </c:pt>
                <c:pt idx="25">
                  <c:v>152</c:v>
                </c:pt>
                <c:pt idx="26">
                  <c:v>143</c:v>
                </c:pt>
                <c:pt idx="27">
                  <c:v>124</c:v>
                </c:pt>
                <c:pt idx="28">
                  <c:v>111</c:v>
                </c:pt>
                <c:pt idx="29">
                  <c:v>111</c:v>
                </c:pt>
                <c:pt idx="30">
                  <c:v>116</c:v>
                </c:pt>
                <c:pt idx="31">
                  <c:v>97</c:v>
                </c:pt>
                <c:pt idx="32">
                  <c:v>89</c:v>
                </c:pt>
                <c:pt idx="33">
                  <c:v>83</c:v>
                </c:pt>
                <c:pt idx="34">
                  <c:v>70</c:v>
                </c:pt>
                <c:pt idx="35">
                  <c:v>58</c:v>
                </c:pt>
                <c:pt idx="36">
                  <c:v>59</c:v>
                </c:pt>
                <c:pt idx="37">
                  <c:v>57</c:v>
                </c:pt>
                <c:pt idx="38">
                  <c:v>58</c:v>
                </c:pt>
                <c:pt idx="39">
                  <c:v>55</c:v>
                </c:pt>
                <c:pt idx="40">
                  <c:v>52</c:v>
                </c:pt>
                <c:pt idx="41">
                  <c:v>37</c:v>
                </c:pt>
                <c:pt idx="42">
                  <c:v>36</c:v>
                </c:pt>
                <c:pt idx="43">
                  <c:v>34</c:v>
                </c:pt>
                <c:pt idx="44">
                  <c:v>36</c:v>
                </c:pt>
                <c:pt idx="45">
                  <c:v>26</c:v>
                </c:pt>
                <c:pt idx="46">
                  <c:v>24</c:v>
                </c:pt>
                <c:pt idx="47">
                  <c:v>23</c:v>
                </c:pt>
                <c:pt idx="48">
                  <c:v>21</c:v>
                </c:pt>
                <c:pt idx="49">
                  <c:v>18</c:v>
                </c:pt>
                <c:pt idx="50">
                  <c:v>20</c:v>
                </c:pt>
                <c:pt idx="51">
                  <c:v>18</c:v>
                </c:pt>
                <c:pt idx="52">
                  <c:v>17</c:v>
                </c:pt>
                <c:pt idx="53">
                  <c:v>14</c:v>
                </c:pt>
                <c:pt idx="54">
                  <c:v>16</c:v>
                </c:pt>
                <c:pt idx="55">
                  <c:v>16</c:v>
                </c:pt>
                <c:pt idx="56">
                  <c:v>13</c:v>
                </c:pt>
                <c:pt idx="57">
                  <c:v>12</c:v>
                </c:pt>
                <c:pt idx="58">
                  <c:v>14</c:v>
                </c:pt>
                <c:pt idx="59">
                  <c:v>15</c:v>
                </c:pt>
                <c:pt idx="60">
                  <c:v>13</c:v>
                </c:pt>
                <c:pt idx="61">
                  <c:v>14</c:v>
                </c:pt>
                <c:pt idx="62">
                  <c:v>7</c:v>
                </c:pt>
                <c:pt idx="63">
                  <c:v>6</c:v>
                </c:pt>
                <c:pt idx="64">
                  <c:v>7</c:v>
                </c:pt>
                <c:pt idx="65">
                  <c:v>11</c:v>
                </c:pt>
                <c:pt idx="66">
                  <c:v>11</c:v>
                </c:pt>
                <c:pt idx="67">
                  <c:v>12</c:v>
                </c:pt>
                <c:pt idx="68">
                  <c:v>11</c:v>
                </c:pt>
                <c:pt idx="69">
                  <c:v>8</c:v>
                </c:pt>
                <c:pt idx="70">
                  <c:v>7</c:v>
                </c:pt>
                <c:pt idx="71">
                  <c:v>8</c:v>
                </c:pt>
                <c:pt idx="72">
                  <c:v>9</c:v>
                </c:pt>
                <c:pt idx="73">
                  <c:v>8</c:v>
                </c:pt>
                <c:pt idx="74">
                  <c:v>9</c:v>
                </c:pt>
                <c:pt idx="75">
                  <c:v>9</c:v>
                </c:pt>
                <c:pt idx="76">
                  <c:v>10</c:v>
                </c:pt>
                <c:pt idx="77">
                  <c:v>9</c:v>
                </c:pt>
                <c:pt idx="78">
                  <c:v>10</c:v>
                </c:pt>
                <c:pt idx="79">
                  <c:v>10</c:v>
                </c:pt>
                <c:pt idx="80">
                  <c:v>5</c:v>
                </c:pt>
                <c:pt idx="81">
                  <c:v>8</c:v>
                </c:pt>
                <c:pt idx="82">
                  <c:v>12</c:v>
                </c:pt>
                <c:pt idx="83">
                  <c:v>11</c:v>
                </c:pt>
                <c:pt idx="84">
                  <c:v>8</c:v>
                </c:pt>
                <c:pt idx="85">
                  <c:v>9</c:v>
                </c:pt>
                <c:pt idx="86">
                  <c:v>9</c:v>
                </c:pt>
                <c:pt idx="87">
                  <c:v>10</c:v>
                </c:pt>
                <c:pt idx="88">
                  <c:v>11</c:v>
                </c:pt>
                <c:pt idx="89">
                  <c:v>14</c:v>
                </c:pt>
                <c:pt idx="90">
                  <c:v>16</c:v>
                </c:pt>
                <c:pt idx="91">
                  <c:v>17</c:v>
                </c:pt>
                <c:pt idx="92">
                  <c:v>16</c:v>
                </c:pt>
                <c:pt idx="93">
                  <c:v>14</c:v>
                </c:pt>
                <c:pt idx="94">
                  <c:v>16</c:v>
                </c:pt>
                <c:pt idx="95">
                  <c:v>17</c:v>
                </c:pt>
                <c:pt idx="96">
                  <c:v>16</c:v>
                </c:pt>
                <c:pt idx="97">
                  <c:v>14</c:v>
                </c:pt>
                <c:pt idx="98">
                  <c:v>12</c:v>
                </c:pt>
                <c:pt idx="99">
                  <c:v>15</c:v>
                </c:pt>
                <c:pt idx="100">
                  <c:v>17</c:v>
                </c:pt>
                <c:pt idx="101">
                  <c:v>16</c:v>
                </c:pt>
                <c:pt idx="102">
                  <c:v>18</c:v>
                </c:pt>
                <c:pt idx="103">
                  <c:v>18</c:v>
                </c:pt>
                <c:pt idx="104">
                  <c:v>17</c:v>
                </c:pt>
                <c:pt idx="105">
                  <c:v>18</c:v>
                </c:pt>
                <c:pt idx="106">
                  <c:v>15</c:v>
                </c:pt>
                <c:pt idx="107">
                  <c:v>17</c:v>
                </c:pt>
                <c:pt idx="108">
                  <c:v>17</c:v>
                </c:pt>
                <c:pt idx="109">
                  <c:v>16</c:v>
                </c:pt>
                <c:pt idx="110">
                  <c:v>17</c:v>
                </c:pt>
                <c:pt idx="111">
                  <c:v>17</c:v>
                </c:pt>
                <c:pt idx="112">
                  <c:v>15</c:v>
                </c:pt>
                <c:pt idx="113">
                  <c:v>16</c:v>
                </c:pt>
                <c:pt idx="114">
                  <c:v>17</c:v>
                </c:pt>
                <c:pt idx="115">
                  <c:v>15</c:v>
                </c:pt>
                <c:pt idx="116">
                  <c:v>17</c:v>
                </c:pt>
                <c:pt idx="117">
                  <c:v>15</c:v>
                </c:pt>
                <c:pt idx="118">
                  <c:v>13</c:v>
                </c:pt>
                <c:pt idx="119">
                  <c:v>12</c:v>
                </c:pt>
                <c:pt idx="120">
                  <c:v>8</c:v>
                </c:pt>
                <c:pt idx="121">
                  <c:v>9</c:v>
                </c:pt>
                <c:pt idx="122">
                  <c:v>9</c:v>
                </c:pt>
                <c:pt idx="123">
                  <c:v>11</c:v>
                </c:pt>
                <c:pt idx="124">
                  <c:v>12</c:v>
                </c:pt>
                <c:pt idx="125">
                  <c:v>14</c:v>
                </c:pt>
                <c:pt idx="126">
                  <c:v>16</c:v>
                </c:pt>
                <c:pt idx="127">
                  <c:v>16</c:v>
                </c:pt>
                <c:pt idx="128">
                  <c:v>23</c:v>
                </c:pt>
                <c:pt idx="129">
                  <c:v>26</c:v>
                </c:pt>
                <c:pt idx="130">
                  <c:v>24</c:v>
                </c:pt>
                <c:pt idx="131">
                  <c:v>22</c:v>
                </c:pt>
                <c:pt idx="132">
                  <c:v>24</c:v>
                </c:pt>
                <c:pt idx="133">
                  <c:v>27</c:v>
                </c:pt>
                <c:pt idx="134">
                  <c:v>31</c:v>
                </c:pt>
                <c:pt idx="135">
                  <c:v>35</c:v>
                </c:pt>
                <c:pt idx="136">
                  <c:v>39</c:v>
                </c:pt>
                <c:pt idx="137">
                  <c:v>36</c:v>
                </c:pt>
                <c:pt idx="138">
                  <c:v>40</c:v>
                </c:pt>
                <c:pt idx="139">
                  <c:v>40</c:v>
                </c:pt>
                <c:pt idx="140">
                  <c:v>37</c:v>
                </c:pt>
              </c:numCache>
            </c:numRef>
          </c:val>
          <c:extLst>
            <c:ext xmlns:c16="http://schemas.microsoft.com/office/drawing/2014/chart" uri="{C3380CC4-5D6E-409C-BE32-E72D297353CC}">
              <c16:uniqueId val="{00000000-DAE2-42EA-A44F-23A358B5B2EF}"/>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1.8216902920128402</c:v>
                </c:pt>
                <c:pt idx="107">
                  <c:v>2.0126958225648126</c:v>
                </c:pt>
                <c:pt idx="108">
                  <c:v>2.3314708837776275</c:v>
                </c:pt>
                <c:pt idx="109">
                  <c:v>2.7698448402605473</c:v>
                </c:pt>
                <c:pt idx="110">
                  <c:v>3.318114125125132</c:v>
                </c:pt>
                <c:pt idx="111">
                  <c:v>3.9733935804293354</c:v>
                </c:pt>
                <c:pt idx="112">
                  <c:v>4.7297621671734023</c:v>
                </c:pt>
                <c:pt idx="113">
                  <c:v>5.5783449547608592</c:v>
                </c:pt>
                <c:pt idx="114">
                  <c:v>6.5085244293734741</c:v>
                </c:pt>
                <c:pt idx="115">
                  <c:v>7.508652204922023</c:v>
                </c:pt>
                <c:pt idx="116">
                  <c:v>8.5668985382494149</c:v>
                </c:pt>
                <c:pt idx="117">
                  <c:v>9.671953110310497</c:v>
                </c:pt>
                <c:pt idx="118">
                  <c:v>10.813266446378751</c:v>
                </c:pt>
                <c:pt idx="119">
                  <c:v>11.98108744431978</c:v>
                </c:pt>
                <c:pt idx="120">
                  <c:v>13.16641977666853</c:v>
                </c:pt>
                <c:pt idx="121">
                  <c:v>14.360828567282994</c:v>
                </c:pt>
                <c:pt idx="122">
                  <c:v>15.556402978534877</c:v>
                </c:pt>
                <c:pt idx="123">
                  <c:v>16.746260384747032</c:v>
                </c:pt>
                <c:pt idx="124">
                  <c:v>17.924722169957306</c:v>
                </c:pt>
                <c:pt idx="125">
                  <c:v>19.087198159646789</c:v>
                </c:pt>
                <c:pt idx="126">
                  <c:v>20.229957452313599</c:v>
                </c:pt>
                <c:pt idx="127">
                  <c:v>21.350139250531171</c:v>
                </c:pt>
                <c:pt idx="128">
                  <c:v>22.445642543491083</c:v>
                </c:pt>
                <c:pt idx="129">
                  <c:v>23.514997730060259</c:v>
                </c:pt>
                <c:pt idx="130">
                  <c:v>24.557292856376563</c:v>
                </c:pt>
                <c:pt idx="131">
                  <c:v>25.571993267414065</c:v>
                </c:pt>
                <c:pt idx="132">
                  <c:v>26.558916126562536</c:v>
                </c:pt>
                <c:pt idx="133">
                  <c:v>27.518174055659159</c:v>
                </c:pt>
                <c:pt idx="134">
                  <c:v>28.450167626899294</c:v>
                </c:pt>
                <c:pt idx="135">
                  <c:v>29.355588884580953</c:v>
                </c:pt>
                <c:pt idx="136">
                  <c:v>30.235326523767831</c:v>
                </c:pt>
                <c:pt idx="137">
                  <c:v>31.0904030085755</c:v>
                </c:pt>
                <c:pt idx="138">
                  <c:v>31.921945321567648</c:v>
                </c:pt>
                <c:pt idx="139">
                  <c:v>32.731145110281716</c:v>
                </c:pt>
                <c:pt idx="140">
                  <c:v>33.5192127577468</c:v>
                </c:pt>
                <c:pt idx="141">
                  <c:v>34.287367386138591</c:v>
                </c:pt>
                <c:pt idx="142">
                  <c:v>35.036728476470316</c:v>
                </c:pt>
                <c:pt idx="143">
                  <c:v>35.768337178338975</c:v>
                </c:pt>
                <c:pt idx="144">
                  <c:v>36.483165431840241</c:v>
                </c:pt>
                <c:pt idx="145">
                  <c:v>37.182127630615497</c:v>
                </c:pt>
                <c:pt idx="146">
                  <c:v>37.866070830822238</c:v>
                </c:pt>
                <c:pt idx="147">
                  <c:v>38.535761495361641</c:v>
                </c:pt>
                <c:pt idx="148">
                  <c:v>39.191872330423827</c:v>
                </c:pt>
                <c:pt idx="149">
                  <c:v>39.834982407348079</c:v>
                </c:pt>
                <c:pt idx="150">
                  <c:v>40.465572912946079</c:v>
                </c:pt>
                <c:pt idx="151">
                  <c:v>41.084025691584358</c:v>
                </c:pt>
                <c:pt idx="152">
                  <c:v>41.690640635086716</c:v>
                </c:pt>
                <c:pt idx="153">
                  <c:v>42.285651629634522</c:v>
                </c:pt>
                <c:pt idx="154">
                  <c:v>42.869234859637189</c:v>
                </c:pt>
                <c:pt idx="155">
                  <c:v>43.441507960342058</c:v>
                </c:pt>
                <c:pt idx="156">
                  <c:v>44.002524199974246</c:v>
                </c:pt>
              </c:numCache>
            </c:numRef>
          </c:val>
          <c:smooth val="0"/>
          <c:extLst>
            <c:ext xmlns:c16="http://schemas.microsoft.com/office/drawing/2014/chart" uri="{C3380CC4-5D6E-409C-BE32-E72D297353CC}">
              <c16:uniqueId val="{00000002-DAE2-42EA-A44F-23A358B5B2EF}"/>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2.0316806488134889</c:v>
                </c:pt>
                <c:pt idx="107">
                  <c:v>2.4874897402028155</c:v>
                </c:pt>
                <c:pt idx="108">
                  <c:v>3.1309691054080462</c:v>
                </c:pt>
                <c:pt idx="109">
                  <c:v>3.9585582446791117</c:v>
                </c:pt>
                <c:pt idx="110">
                  <c:v>4.9647219824962763</c:v>
                </c:pt>
                <c:pt idx="111">
                  <c:v>6.1547385887495745</c:v>
                </c:pt>
                <c:pt idx="112">
                  <c:v>7.5294706968084357</c:v>
                </c:pt>
                <c:pt idx="113">
                  <c:v>9.0849737633807699</c:v>
                </c:pt>
                <c:pt idx="114">
                  <c:v>10.81434337491072</c:v>
                </c:pt>
                <c:pt idx="115">
                  <c:v>12.708835694004261</c:v>
                </c:pt>
                <c:pt idx="116">
                  <c:v>14.759009398384926</c:v>
                </c:pt>
                <c:pt idx="117">
                  <c:v>16.955717033834269</c:v>
                </c:pt>
                <c:pt idx="118">
                  <c:v>19.290494876355588</c:v>
                </c:pt>
                <c:pt idx="119">
                  <c:v>21.755721467973849</c:v>
                </c:pt>
                <c:pt idx="120">
                  <c:v>24.344666995789858</c:v>
                </c:pt>
                <c:pt idx="121">
                  <c:v>27.051260952817543</c:v>
                </c:pt>
                <c:pt idx="122">
                  <c:v>29.869970601355853</c:v>
                </c:pt>
                <c:pt idx="123">
                  <c:v>32.796385728615483</c:v>
                </c:pt>
                <c:pt idx="124">
                  <c:v>35.827601088049093</c:v>
                </c:pt>
                <c:pt idx="125">
                  <c:v>38.962191710077761</c:v>
                </c:pt>
                <c:pt idx="126">
                  <c:v>42.199921997343253</c:v>
                </c:pt>
                <c:pt idx="127">
                  <c:v>45.54174345766792</c:v>
                </c:pt>
                <c:pt idx="128">
                  <c:v>48.989748195013689</c:v>
                </c:pt>
                <c:pt idx="129">
                  <c:v>52.547013122473757</c:v>
                </c:pt>
                <c:pt idx="130">
                  <c:v>56.2175138245548</c:v>
                </c:pt>
                <c:pt idx="131">
                  <c:v>60.005911964728455</c:v>
                </c:pt>
                <c:pt idx="132">
                  <c:v>63.917498603385823</c:v>
                </c:pt>
                <c:pt idx="133">
                  <c:v>67.95814979143681</c:v>
                </c:pt>
                <c:pt idx="134">
                  <c:v>72.134354686817701</c:v>
                </c:pt>
                <c:pt idx="135">
                  <c:v>76.453207955683482</c:v>
                </c:pt>
                <c:pt idx="136">
                  <c:v>80.922306537757478</c:v>
                </c:pt>
                <c:pt idx="137">
                  <c:v>85.549687020506795</c:v>
                </c:pt>
                <c:pt idx="138">
                  <c:v>90.343802913884005</c:v>
                </c:pt>
                <c:pt idx="139">
                  <c:v>95.313480774594836</c:v>
                </c:pt>
                <c:pt idx="140">
                  <c:v>100.46787461911273</c:v>
                </c:pt>
                <c:pt idx="141">
                  <c:v>105.8164577547451</c:v>
                </c:pt>
                <c:pt idx="142">
                  <c:v>111.36899487339957</c:v>
                </c:pt>
                <c:pt idx="143">
                  <c:v>117.13555920246648</c:v>
                </c:pt>
                <c:pt idx="144">
                  <c:v>123.12653623188925</c:v>
                </c:pt>
                <c:pt idx="145">
                  <c:v>129.35262541679757</c:v>
                </c:pt>
                <c:pt idx="146">
                  <c:v>135.82483646757467</c:v>
                </c:pt>
                <c:pt idx="147">
                  <c:v>142.55450019304521</c:v>
                </c:pt>
                <c:pt idx="148">
                  <c:v>149.55327217198339</c:v>
                </c:pt>
                <c:pt idx="149">
                  <c:v>156.83314911029456</c:v>
                </c:pt>
                <c:pt idx="150">
                  <c:v>164.40647352998528</c:v>
                </c:pt>
                <c:pt idx="151">
                  <c:v>172.28593718147221</c:v>
                </c:pt>
                <c:pt idx="152">
                  <c:v>180.48460783807332</c:v>
                </c:pt>
                <c:pt idx="153">
                  <c:v>189.01595516806398</c:v>
                </c:pt>
                <c:pt idx="154">
                  <c:v>197.89387157327107</c:v>
                </c:pt>
                <c:pt idx="155">
                  <c:v>207.13268468816716</c:v>
                </c:pt>
                <c:pt idx="156">
                  <c:v>216.74715997408939</c:v>
                </c:pt>
              </c:numCache>
            </c:numRef>
          </c:val>
          <c:smooth val="0"/>
          <c:extLst>
            <c:ext xmlns:c16="http://schemas.microsoft.com/office/drawing/2014/chart" uri="{C3380CC4-5D6E-409C-BE32-E72D297353CC}">
              <c16:uniqueId val="{00000003-DAE2-42EA-A44F-23A358B5B2EF}"/>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1.3684078084114237</c:v>
                </c:pt>
                <c:pt idx="107">
                  <c:v>1.0883585518835208</c:v>
                </c:pt>
                <c:pt idx="108">
                  <c:v>0.92021656239090643</c:v>
                </c:pt>
                <c:pt idx="109">
                  <c:v>0.85669111038151269</c:v>
                </c:pt>
                <c:pt idx="110">
                  <c:v>0.88842864209572281</c:v>
                </c:pt>
                <c:pt idx="111">
                  <c:v>1.0051355913690199</c:v>
                </c:pt>
                <c:pt idx="112">
                  <c:v>1.1957889728435032</c:v>
                </c:pt>
                <c:pt idx="113">
                  <c:v>1.4489486172688519</c:v>
                </c:pt>
                <c:pt idx="114">
                  <c:v>1.7529868066943817</c:v>
                </c:pt>
                <c:pt idx="115">
                  <c:v>2.0964126165292507</c:v>
                </c:pt>
                <c:pt idx="116">
                  <c:v>2.4683819791064012</c:v>
                </c:pt>
                <c:pt idx="117">
                  <c:v>2.859501899413929</c:v>
                </c:pt>
                <c:pt idx="118">
                  <c:v>3.2617209079723546</c:v>
                </c:pt>
                <c:pt idx="119">
                  <c:v>3.6672215753348754</c:v>
                </c:pt>
                <c:pt idx="120">
                  <c:v>4.0685953645005357</c:v>
                </c:pt>
                <c:pt idx="121">
                  <c:v>4.4591156231541857</c:v>
                </c:pt>
                <c:pt idx="122">
                  <c:v>4.8329513202648124</c:v>
                </c:pt>
                <c:pt idx="123">
                  <c:v>5.1852474922478793</c:v>
                </c:pt>
                <c:pt idx="124">
                  <c:v>5.5125334717640522</c:v>
                </c:pt>
                <c:pt idx="125">
                  <c:v>5.8125634585597412</c:v>
                </c:pt>
                <c:pt idx="126">
                  <c:v>6.0833491908599298</c:v>
                </c:pt>
                <c:pt idx="127">
                  <c:v>6.3230687436613442</c:v>
                </c:pt>
                <c:pt idx="128">
                  <c:v>6.530197563267218</c:v>
                </c:pt>
                <c:pt idx="129">
                  <c:v>6.7035802793522086</c:v>
                </c:pt>
                <c:pt idx="130">
                  <c:v>6.8425174685190298</c:v>
                </c:pt>
                <c:pt idx="131">
                  <c:v>6.9469436411259506</c:v>
                </c:pt>
                <c:pt idx="132">
                  <c:v>7.0173038132060581</c:v>
                </c:pt>
                <c:pt idx="133">
                  <c:v>7.0541341068101238</c:v>
                </c:pt>
                <c:pt idx="134">
                  <c:v>7.0579906854883747</c:v>
                </c:pt>
                <c:pt idx="135">
                  <c:v>7.0294747904293997</c:v>
                </c:pt>
                <c:pt idx="136">
                  <c:v>6.9692686150528944</c:v>
                </c:pt>
                <c:pt idx="137">
                  <c:v>6.8782257997669989</c:v>
                </c:pt>
                <c:pt idx="138">
                  <c:v>6.7574307336443473</c:v>
                </c:pt>
                <c:pt idx="139">
                  <c:v>6.6080293925510025</c:v>
                </c:pt>
                <c:pt idx="140">
                  <c:v>6.4310942368546131</c:v>
                </c:pt>
                <c:pt idx="141">
                  <c:v>6.2275936194469272</c:v>
                </c:pt>
                <c:pt idx="142">
                  <c:v>5.998387666681821</c:v>
                </c:pt>
                <c:pt idx="143">
                  <c:v>5.7442617478143445</c:v>
                </c:pt>
                <c:pt idx="144">
                  <c:v>5.4659996179453314</c:v>
                </c:pt>
                <c:pt idx="145">
                  <c:v>5.1644821614516774</c:v>
                </c:pt>
                <c:pt idx="146">
                  <c:v>4.8406411610287927</c:v>
                </c:pt>
                <c:pt idx="147">
                  <c:v>4.4953194800038494</c:v>
                </c:pt>
                <c:pt idx="148">
                  <c:v>4.1292721777200727</c:v>
                </c:pt>
                <c:pt idx="149">
                  <c:v>3.7432234858742861</c:v>
                </c:pt>
                <c:pt idx="150">
                  <c:v>3.3378059345416391</c:v>
                </c:pt>
                <c:pt idx="151">
                  <c:v>2.9136330415462988</c:v>
                </c:pt>
                <c:pt idx="152">
                  <c:v>2.4713668023438418</c:v>
                </c:pt>
                <c:pt idx="153">
                  <c:v>2.0117059890426967</c:v>
                </c:pt>
                <c:pt idx="154">
                  <c:v>1.5353379912842877</c:v>
                </c:pt>
                <c:pt idx="155">
                  <c:v>1.0429540874153505</c:v>
                </c:pt>
                <c:pt idx="156">
                  <c:v>0.53525997746078691</c:v>
                </c:pt>
              </c:numCache>
            </c:numRef>
          </c:val>
          <c:smooth val="0"/>
          <c:extLst>
            <c:ext xmlns:c16="http://schemas.microsoft.com/office/drawing/2014/chart" uri="{C3380CC4-5D6E-409C-BE32-E72D297353CC}">
              <c16:uniqueId val="{00000005-DAE2-42EA-A44F-23A358B5B2EF}"/>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1.7338673528478215E-2"/>
          <c:w val="0.80334957098880577"/>
          <c:h val="0.7587762916834988"/>
        </c:manualLayout>
      </c:layout>
      <c:lineChart>
        <c:grouping val="standard"/>
        <c:varyColors val="0"/>
        <c:ser>
          <c:idx val="0"/>
          <c:order val="0"/>
          <c:tx>
            <c:strRef>
              <c:f>List1!$A$2</c:f>
              <c:strCache>
                <c:ptCount val="1"/>
                <c:pt idx="0">
                  <c:v>2020</c:v>
                </c:pt>
              </c:strCache>
            </c:strRef>
          </c:tx>
          <c:spPr>
            <a:ln w="28575" cap="rnd">
              <a:solidFill>
                <a:srgbClr val="00B0F0"/>
              </a:solidFill>
              <a:prstDash val="sysDash"/>
              <a:round/>
            </a:ln>
            <a:effectLst/>
          </c:spPr>
          <c:marker>
            <c:symbol val="none"/>
          </c:marker>
          <c:cat>
            <c:strRef>
              <c:f>List1!$B$1:$S$1</c:f>
              <c:strCache>
                <c:ptCount val="18"/>
                <c:pt idx="0">
                  <c:v>01.06 - 07.06</c:v>
                </c:pt>
                <c:pt idx="1">
                  <c:v>08.06 - 14.06</c:v>
                </c:pt>
                <c:pt idx="2">
                  <c:v>15.06 - 21.06</c:v>
                </c:pt>
                <c:pt idx="3">
                  <c:v>22.06 - 28.06</c:v>
                </c:pt>
                <c:pt idx="4">
                  <c:v>29.06 - 05.07</c:v>
                </c:pt>
                <c:pt idx="5">
                  <c:v>06.07 - 12.07</c:v>
                </c:pt>
                <c:pt idx="6">
                  <c:v>13.07 - 19.07</c:v>
                </c:pt>
                <c:pt idx="7">
                  <c:v>20.07 - 26.07</c:v>
                </c:pt>
                <c:pt idx="8">
                  <c:v>27.07 - 02.08</c:v>
                </c:pt>
                <c:pt idx="9">
                  <c:v>03.08 - 09.08</c:v>
                </c:pt>
                <c:pt idx="10">
                  <c:v>10.08 - 16.08</c:v>
                </c:pt>
                <c:pt idx="11">
                  <c:v>17.08 - 23.08</c:v>
                </c:pt>
                <c:pt idx="12">
                  <c:v>24.08 - 30.08</c:v>
                </c:pt>
                <c:pt idx="13">
                  <c:v>31.08 - 06.09</c:v>
                </c:pt>
                <c:pt idx="14">
                  <c:v>07.09 - 13.09</c:v>
                </c:pt>
                <c:pt idx="15">
                  <c:v>14.09 - 20.09</c:v>
                </c:pt>
                <c:pt idx="16">
                  <c:v>21.09 - 27.09</c:v>
                </c:pt>
                <c:pt idx="17">
                  <c:v>28.09 - 04.10</c:v>
                </c:pt>
              </c:strCache>
            </c:strRef>
          </c:cat>
          <c:val>
            <c:numRef>
              <c:f>List1!$B$2:$S$2</c:f>
              <c:numCache>
                <c:formatCode>General</c:formatCode>
                <c:ptCount val="18"/>
                <c:pt idx="0">
                  <c:v>3.4199927730000002</c:v>
                </c:pt>
                <c:pt idx="1">
                  <c:v>3.728352777</c:v>
                </c:pt>
                <c:pt idx="2">
                  <c:v>4.4291709690000003</c:v>
                </c:pt>
                <c:pt idx="3">
                  <c:v>10.334732259999999</c:v>
                </c:pt>
                <c:pt idx="4">
                  <c:v>8.4939164779999992</c:v>
                </c:pt>
                <c:pt idx="5">
                  <c:v>6.1298231129999996</c:v>
                </c:pt>
                <c:pt idx="6">
                  <c:v>7.1950667629999998</c:v>
                </c:pt>
                <c:pt idx="7">
                  <c:v>12.84833351</c:v>
                </c:pt>
                <c:pt idx="8">
                  <c:v>13.58652867</c:v>
                </c:pt>
                <c:pt idx="9">
                  <c:v>14.64242808</c:v>
                </c:pt>
                <c:pt idx="10">
                  <c:v>15.4834099</c:v>
                </c:pt>
                <c:pt idx="11">
                  <c:v>17.80078206</c:v>
                </c:pt>
                <c:pt idx="12">
                  <c:v>22.874705760000001</c:v>
                </c:pt>
                <c:pt idx="13">
                  <c:v>35.367958049999999</c:v>
                </c:pt>
                <c:pt idx="14">
                  <c:v>75.062300399999998</c:v>
                </c:pt>
                <c:pt idx="15">
                  <c:v>122.39088889999999</c:v>
                </c:pt>
                <c:pt idx="16">
                  <c:v>143.01363219999999</c:v>
                </c:pt>
                <c:pt idx="17">
                  <c:v>166.93489310000001</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2021</c:v>
                </c:pt>
              </c:strCache>
            </c:strRef>
          </c:tx>
          <c:spPr>
            <a:ln w="28575" cap="rnd">
              <a:solidFill>
                <a:srgbClr val="00B050"/>
              </a:solidFill>
              <a:round/>
            </a:ln>
            <a:effectLst/>
          </c:spPr>
          <c:marker>
            <c:symbol val="none"/>
          </c:marker>
          <c:cat>
            <c:strRef>
              <c:f>List1!$B$1:$S$1</c:f>
              <c:strCache>
                <c:ptCount val="18"/>
                <c:pt idx="0">
                  <c:v>01.06 - 07.06</c:v>
                </c:pt>
                <c:pt idx="1">
                  <c:v>08.06 - 14.06</c:v>
                </c:pt>
                <c:pt idx="2">
                  <c:v>15.06 - 21.06</c:v>
                </c:pt>
                <c:pt idx="3">
                  <c:v>22.06 - 28.06</c:v>
                </c:pt>
                <c:pt idx="4">
                  <c:v>29.06 - 05.07</c:v>
                </c:pt>
                <c:pt idx="5">
                  <c:v>06.07 - 12.07</c:v>
                </c:pt>
                <c:pt idx="6">
                  <c:v>13.07 - 19.07</c:v>
                </c:pt>
                <c:pt idx="7">
                  <c:v>20.07 - 26.07</c:v>
                </c:pt>
                <c:pt idx="8">
                  <c:v>27.07 - 02.08</c:v>
                </c:pt>
                <c:pt idx="9">
                  <c:v>03.08 - 09.08</c:v>
                </c:pt>
                <c:pt idx="10">
                  <c:v>10.08 - 16.08</c:v>
                </c:pt>
                <c:pt idx="11">
                  <c:v>17.08 - 23.08</c:v>
                </c:pt>
                <c:pt idx="12">
                  <c:v>24.08 - 30.08</c:v>
                </c:pt>
                <c:pt idx="13">
                  <c:v>31.08 - 06.09</c:v>
                </c:pt>
                <c:pt idx="14">
                  <c:v>07.09 - 13.09</c:v>
                </c:pt>
                <c:pt idx="15">
                  <c:v>14.09 - 20.09</c:v>
                </c:pt>
                <c:pt idx="16">
                  <c:v>21.09 - 27.09</c:v>
                </c:pt>
                <c:pt idx="17">
                  <c:v>28.09 - 04.10</c:v>
                </c:pt>
              </c:strCache>
            </c:strRef>
          </c:cat>
          <c:val>
            <c:numRef>
              <c:f>List1!$B$3:$S$3</c:f>
              <c:numCache>
                <c:formatCode>General</c:formatCode>
                <c:ptCount val="18"/>
                <c:pt idx="0">
                  <c:v>19.753728750000001</c:v>
                </c:pt>
                <c:pt idx="1">
                  <c:v>12.091449860000001</c:v>
                </c:pt>
                <c:pt idx="2">
                  <c:v>8.1762122309999992</c:v>
                </c:pt>
                <c:pt idx="3">
                  <c:v>6.727854636</c:v>
                </c:pt>
                <c:pt idx="4">
                  <c:v>9.1853904259999997</c:v>
                </c:pt>
                <c:pt idx="5">
                  <c:v>13.698659579999999</c:v>
                </c:pt>
                <c:pt idx="6">
                  <c:v>14.717182019999999</c:v>
                </c:pt>
                <c:pt idx="7">
                  <c:v>12.28767895</c:v>
                </c:pt>
                <c:pt idx="8">
                  <c:v>10.55899408</c:v>
                </c:pt>
                <c:pt idx="9">
                  <c:v>11.287845000000001</c:v>
                </c:pt>
                <c:pt idx="10">
                  <c:v>12.306367440000001</c:v>
                </c:pt>
                <c:pt idx="11">
                  <c:v>12.07276137</c:v>
                </c:pt>
                <c:pt idx="12">
                  <c:v>12.511940770000001</c:v>
                </c:pt>
                <c:pt idx="13">
                  <c:v>17.697995389999999</c:v>
                </c:pt>
                <c:pt idx="14">
                  <c:v>25.20142216</c:v>
                </c:pt>
              </c:numCache>
            </c:numRef>
          </c:val>
          <c:smooth val="0"/>
          <c:extLst>
            <c:ext xmlns:c16="http://schemas.microsoft.com/office/drawing/2014/chart" uri="{C3380CC4-5D6E-409C-BE32-E72D297353CC}">
              <c16:uniqueId val="{00000001-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max val="2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50"/>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1.7338673528478215E-2"/>
          <c:w val="0.80334957098880577"/>
          <c:h val="0.7587762916834988"/>
        </c:manualLayout>
      </c:layout>
      <c:lineChart>
        <c:grouping val="standard"/>
        <c:varyColors val="0"/>
        <c:ser>
          <c:idx val="0"/>
          <c:order val="0"/>
          <c:tx>
            <c:strRef>
              <c:f>List1!$A$2</c:f>
              <c:strCache>
                <c:ptCount val="1"/>
                <c:pt idx="0">
                  <c:v>2020</c:v>
                </c:pt>
              </c:strCache>
            </c:strRef>
          </c:tx>
          <c:spPr>
            <a:ln w="28575" cap="rnd">
              <a:solidFill>
                <a:srgbClr val="00B0F0"/>
              </a:solidFill>
              <a:prstDash val="sysDash"/>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2:$DT$2</c:f>
              <c:numCache>
                <c:formatCode>General</c:formatCode>
                <c:ptCount val="123"/>
                <c:pt idx="0">
                  <c:v>34</c:v>
                </c:pt>
                <c:pt idx="1">
                  <c:v>63</c:v>
                </c:pt>
                <c:pt idx="2">
                  <c:v>74</c:v>
                </c:pt>
                <c:pt idx="3">
                  <c:v>61</c:v>
                </c:pt>
                <c:pt idx="4">
                  <c:v>35</c:v>
                </c:pt>
                <c:pt idx="5">
                  <c:v>38</c:v>
                </c:pt>
                <c:pt idx="6">
                  <c:v>61</c:v>
                </c:pt>
                <c:pt idx="7">
                  <c:v>69</c:v>
                </c:pt>
                <c:pt idx="8">
                  <c:v>55</c:v>
                </c:pt>
                <c:pt idx="9">
                  <c:v>73</c:v>
                </c:pt>
                <c:pt idx="10">
                  <c:v>64</c:v>
                </c:pt>
                <c:pt idx="11">
                  <c:v>52</c:v>
                </c:pt>
                <c:pt idx="12">
                  <c:v>53</c:v>
                </c:pt>
                <c:pt idx="13">
                  <c:v>33</c:v>
                </c:pt>
                <c:pt idx="14">
                  <c:v>40</c:v>
                </c:pt>
                <c:pt idx="15">
                  <c:v>47</c:v>
                </c:pt>
                <c:pt idx="16">
                  <c:v>51</c:v>
                </c:pt>
                <c:pt idx="17">
                  <c:v>118</c:v>
                </c:pt>
                <c:pt idx="18">
                  <c:v>126</c:v>
                </c:pt>
                <c:pt idx="19">
                  <c:v>42</c:v>
                </c:pt>
                <c:pt idx="20">
                  <c:v>50</c:v>
                </c:pt>
                <c:pt idx="21">
                  <c:v>64</c:v>
                </c:pt>
                <c:pt idx="22">
                  <c:v>89</c:v>
                </c:pt>
                <c:pt idx="23">
                  <c:v>127</c:v>
                </c:pt>
                <c:pt idx="24">
                  <c:v>93</c:v>
                </c:pt>
                <c:pt idx="25">
                  <c:v>168</c:v>
                </c:pt>
                <c:pt idx="26">
                  <c:v>260</c:v>
                </c:pt>
                <c:pt idx="27">
                  <c:v>305</c:v>
                </c:pt>
                <c:pt idx="28">
                  <c:v>201</c:v>
                </c:pt>
                <c:pt idx="29">
                  <c:v>149</c:v>
                </c:pt>
                <c:pt idx="30">
                  <c:v>91</c:v>
                </c:pt>
                <c:pt idx="31">
                  <c:v>132</c:v>
                </c:pt>
                <c:pt idx="32">
                  <c:v>140</c:v>
                </c:pt>
                <c:pt idx="33">
                  <c:v>121</c:v>
                </c:pt>
                <c:pt idx="34">
                  <c:v>75</c:v>
                </c:pt>
                <c:pt idx="35">
                  <c:v>51</c:v>
                </c:pt>
                <c:pt idx="36">
                  <c:v>118</c:v>
                </c:pt>
                <c:pt idx="37">
                  <c:v>129</c:v>
                </c:pt>
                <c:pt idx="38">
                  <c:v>105</c:v>
                </c:pt>
                <c:pt idx="39">
                  <c:v>141</c:v>
                </c:pt>
                <c:pt idx="40">
                  <c:v>53</c:v>
                </c:pt>
                <c:pt idx="41">
                  <c:v>59</c:v>
                </c:pt>
                <c:pt idx="42">
                  <c:v>64</c:v>
                </c:pt>
                <c:pt idx="43">
                  <c:v>104</c:v>
                </c:pt>
                <c:pt idx="44">
                  <c:v>134</c:v>
                </c:pt>
                <c:pt idx="45">
                  <c:v>137</c:v>
                </c:pt>
                <c:pt idx="46">
                  <c:v>128</c:v>
                </c:pt>
                <c:pt idx="47">
                  <c:v>112</c:v>
                </c:pt>
                <c:pt idx="48">
                  <c:v>91</c:v>
                </c:pt>
                <c:pt idx="49">
                  <c:v>168</c:v>
                </c:pt>
                <c:pt idx="50">
                  <c:v>207</c:v>
                </c:pt>
                <c:pt idx="51">
                  <c:v>245</c:v>
                </c:pt>
                <c:pt idx="52">
                  <c:v>231</c:v>
                </c:pt>
                <c:pt idx="53">
                  <c:v>278</c:v>
                </c:pt>
                <c:pt idx="54">
                  <c:v>132</c:v>
                </c:pt>
                <c:pt idx="55">
                  <c:v>114</c:v>
                </c:pt>
                <c:pt idx="56">
                  <c:v>194</c:v>
                </c:pt>
                <c:pt idx="57">
                  <c:v>276</c:v>
                </c:pt>
                <c:pt idx="58">
                  <c:v>274</c:v>
                </c:pt>
                <c:pt idx="59">
                  <c:v>254</c:v>
                </c:pt>
                <c:pt idx="60">
                  <c:v>231</c:v>
                </c:pt>
                <c:pt idx="61">
                  <c:v>124</c:v>
                </c:pt>
                <c:pt idx="62">
                  <c:v>101</c:v>
                </c:pt>
                <c:pt idx="63">
                  <c:v>208</c:v>
                </c:pt>
                <c:pt idx="64">
                  <c:v>287</c:v>
                </c:pt>
                <c:pt idx="65">
                  <c:v>241</c:v>
                </c:pt>
                <c:pt idx="66">
                  <c:v>214</c:v>
                </c:pt>
                <c:pt idx="67">
                  <c:v>322</c:v>
                </c:pt>
                <c:pt idx="68">
                  <c:v>173</c:v>
                </c:pt>
                <c:pt idx="69">
                  <c:v>122</c:v>
                </c:pt>
                <c:pt idx="70">
                  <c:v>141</c:v>
                </c:pt>
                <c:pt idx="71">
                  <c:v>288</c:v>
                </c:pt>
                <c:pt idx="72">
                  <c:v>289</c:v>
                </c:pt>
                <c:pt idx="73">
                  <c:v>330</c:v>
                </c:pt>
                <c:pt idx="74">
                  <c:v>291</c:v>
                </c:pt>
                <c:pt idx="75">
                  <c:v>197</c:v>
                </c:pt>
                <c:pt idx="76">
                  <c:v>121</c:v>
                </c:pt>
                <c:pt idx="77">
                  <c:v>191</c:v>
                </c:pt>
                <c:pt idx="78">
                  <c:v>281</c:v>
                </c:pt>
                <c:pt idx="79">
                  <c:v>313</c:v>
                </c:pt>
                <c:pt idx="80">
                  <c:v>246</c:v>
                </c:pt>
                <c:pt idx="81">
                  <c:v>504</c:v>
                </c:pt>
                <c:pt idx="82">
                  <c:v>234</c:v>
                </c:pt>
                <c:pt idx="83">
                  <c:v>136</c:v>
                </c:pt>
                <c:pt idx="84">
                  <c:v>259</c:v>
                </c:pt>
                <c:pt idx="85">
                  <c:v>364</c:v>
                </c:pt>
                <c:pt idx="86">
                  <c:v>396</c:v>
                </c:pt>
                <c:pt idx="87">
                  <c:v>350</c:v>
                </c:pt>
                <c:pt idx="88">
                  <c:v>485</c:v>
                </c:pt>
                <c:pt idx="89">
                  <c:v>320</c:v>
                </c:pt>
                <c:pt idx="90">
                  <c:v>274</c:v>
                </c:pt>
                <c:pt idx="91">
                  <c:v>256</c:v>
                </c:pt>
                <c:pt idx="92">
                  <c:v>498</c:v>
                </c:pt>
                <c:pt idx="93">
                  <c:v>645</c:v>
                </c:pt>
                <c:pt idx="94">
                  <c:v>675</c:v>
                </c:pt>
                <c:pt idx="95">
                  <c:v>797</c:v>
                </c:pt>
                <c:pt idx="96">
                  <c:v>504</c:v>
                </c:pt>
                <c:pt idx="97">
                  <c:v>410</c:v>
                </c:pt>
                <c:pt idx="98">
                  <c:v>561</c:v>
                </c:pt>
                <c:pt idx="99">
                  <c:v>1161</c:v>
                </c:pt>
                <c:pt idx="100">
                  <c:v>1158</c:v>
                </c:pt>
                <c:pt idx="101">
                  <c:v>1383</c:v>
                </c:pt>
                <c:pt idx="102">
                  <c:v>1442</c:v>
                </c:pt>
                <c:pt idx="103">
                  <c:v>1537</c:v>
                </c:pt>
                <c:pt idx="104">
                  <c:v>791</c:v>
                </c:pt>
                <c:pt idx="105">
                  <c:v>1028</c:v>
                </c:pt>
                <c:pt idx="106">
                  <c:v>1676</c:v>
                </c:pt>
                <c:pt idx="107">
                  <c:v>2133</c:v>
                </c:pt>
                <c:pt idx="108">
                  <c:v>3124</c:v>
                </c:pt>
                <c:pt idx="109">
                  <c:v>2108</c:v>
                </c:pt>
                <c:pt idx="110">
                  <c:v>2045</c:v>
                </c:pt>
                <c:pt idx="111">
                  <c:v>984</c:v>
                </c:pt>
                <c:pt idx="112">
                  <c:v>1476</c:v>
                </c:pt>
                <c:pt idx="113">
                  <c:v>2387</c:v>
                </c:pt>
                <c:pt idx="114">
                  <c:v>2306</c:v>
                </c:pt>
                <c:pt idx="115">
                  <c:v>2906</c:v>
                </c:pt>
                <c:pt idx="116">
                  <c:v>2945</c:v>
                </c:pt>
                <c:pt idx="117">
                  <c:v>1981</c:v>
                </c:pt>
                <c:pt idx="118">
                  <c:v>1304</c:v>
                </c:pt>
                <c:pt idx="119">
                  <c:v>1284</c:v>
                </c:pt>
                <c:pt idx="120">
                  <c:v>1963</c:v>
                </c:pt>
                <c:pt idx="121">
                  <c:v>2925</c:v>
                </c:pt>
                <c:pt idx="122">
                  <c:v>3503</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2021</c:v>
                </c:pt>
              </c:strCache>
            </c:strRef>
          </c:tx>
          <c:spPr>
            <a:ln w="28575" cap="rnd">
              <a:solidFill>
                <a:srgbClr val="00B050"/>
              </a:solidFill>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3:$DT$3</c:f>
              <c:numCache>
                <c:formatCode>General</c:formatCode>
                <c:ptCount val="123"/>
                <c:pt idx="0">
                  <c:v>478</c:v>
                </c:pt>
                <c:pt idx="1">
                  <c:v>351</c:v>
                </c:pt>
                <c:pt idx="2">
                  <c:v>423</c:v>
                </c:pt>
                <c:pt idx="3">
                  <c:v>319</c:v>
                </c:pt>
                <c:pt idx="4">
                  <c:v>152</c:v>
                </c:pt>
                <c:pt idx="5">
                  <c:v>97</c:v>
                </c:pt>
                <c:pt idx="6">
                  <c:v>294</c:v>
                </c:pt>
                <c:pt idx="7">
                  <c:v>386</c:v>
                </c:pt>
                <c:pt idx="8">
                  <c:v>250</c:v>
                </c:pt>
                <c:pt idx="9">
                  <c:v>190</c:v>
                </c:pt>
                <c:pt idx="10">
                  <c:v>179</c:v>
                </c:pt>
                <c:pt idx="11">
                  <c:v>73</c:v>
                </c:pt>
                <c:pt idx="12">
                  <c:v>41</c:v>
                </c:pt>
                <c:pt idx="13">
                  <c:v>175</c:v>
                </c:pt>
                <c:pt idx="14">
                  <c:v>206</c:v>
                </c:pt>
                <c:pt idx="15">
                  <c:v>129</c:v>
                </c:pt>
                <c:pt idx="16">
                  <c:v>157</c:v>
                </c:pt>
                <c:pt idx="17">
                  <c:v>144</c:v>
                </c:pt>
                <c:pt idx="18">
                  <c:v>63</c:v>
                </c:pt>
                <c:pt idx="19">
                  <c:v>57</c:v>
                </c:pt>
                <c:pt idx="20">
                  <c:v>119</c:v>
                </c:pt>
                <c:pt idx="21">
                  <c:v>112</c:v>
                </c:pt>
                <c:pt idx="22">
                  <c:v>105</c:v>
                </c:pt>
                <c:pt idx="23">
                  <c:v>96</c:v>
                </c:pt>
                <c:pt idx="24">
                  <c:v>132</c:v>
                </c:pt>
                <c:pt idx="25">
                  <c:v>68</c:v>
                </c:pt>
                <c:pt idx="26">
                  <c:v>57</c:v>
                </c:pt>
                <c:pt idx="27">
                  <c:v>150</c:v>
                </c:pt>
                <c:pt idx="28">
                  <c:v>156</c:v>
                </c:pt>
                <c:pt idx="29">
                  <c:v>136</c:v>
                </c:pt>
                <c:pt idx="30">
                  <c:v>166</c:v>
                </c:pt>
                <c:pt idx="31">
                  <c:v>165</c:v>
                </c:pt>
                <c:pt idx="32">
                  <c:v>124</c:v>
                </c:pt>
                <c:pt idx="33">
                  <c:v>107</c:v>
                </c:pt>
                <c:pt idx="34">
                  <c:v>129</c:v>
                </c:pt>
                <c:pt idx="35">
                  <c:v>109</c:v>
                </c:pt>
                <c:pt idx="36">
                  <c:v>278</c:v>
                </c:pt>
                <c:pt idx="37">
                  <c:v>249</c:v>
                </c:pt>
                <c:pt idx="38">
                  <c:v>283</c:v>
                </c:pt>
                <c:pt idx="39">
                  <c:v>157</c:v>
                </c:pt>
                <c:pt idx="40">
                  <c:v>147</c:v>
                </c:pt>
                <c:pt idx="41">
                  <c:v>243</c:v>
                </c:pt>
                <c:pt idx="42">
                  <c:v>320</c:v>
                </c:pt>
                <c:pt idx="43">
                  <c:v>259</c:v>
                </c:pt>
                <c:pt idx="44">
                  <c:v>225</c:v>
                </c:pt>
                <c:pt idx="45">
                  <c:v>239</c:v>
                </c:pt>
                <c:pt idx="46">
                  <c:v>197</c:v>
                </c:pt>
                <c:pt idx="47">
                  <c:v>116</c:v>
                </c:pt>
                <c:pt idx="48">
                  <c:v>219</c:v>
                </c:pt>
                <c:pt idx="49">
                  <c:v>300</c:v>
                </c:pt>
                <c:pt idx="50">
                  <c:v>231</c:v>
                </c:pt>
                <c:pt idx="51">
                  <c:v>194</c:v>
                </c:pt>
                <c:pt idx="52">
                  <c:v>188</c:v>
                </c:pt>
                <c:pt idx="53">
                  <c:v>125</c:v>
                </c:pt>
                <c:pt idx="54">
                  <c:v>80</c:v>
                </c:pt>
                <c:pt idx="55">
                  <c:v>197</c:v>
                </c:pt>
                <c:pt idx="56">
                  <c:v>252</c:v>
                </c:pt>
                <c:pt idx="57">
                  <c:v>192</c:v>
                </c:pt>
                <c:pt idx="58">
                  <c:v>204</c:v>
                </c:pt>
                <c:pt idx="59">
                  <c:v>139</c:v>
                </c:pt>
                <c:pt idx="60">
                  <c:v>115</c:v>
                </c:pt>
                <c:pt idx="61">
                  <c:v>77</c:v>
                </c:pt>
                <c:pt idx="62">
                  <c:v>151</c:v>
                </c:pt>
                <c:pt idx="63">
                  <c:v>237</c:v>
                </c:pt>
                <c:pt idx="64">
                  <c:v>208</c:v>
                </c:pt>
                <c:pt idx="65">
                  <c:v>163</c:v>
                </c:pt>
                <c:pt idx="66">
                  <c:v>172</c:v>
                </c:pt>
                <c:pt idx="67">
                  <c:v>155</c:v>
                </c:pt>
                <c:pt idx="68">
                  <c:v>105</c:v>
                </c:pt>
                <c:pt idx="69">
                  <c:v>168</c:v>
                </c:pt>
                <c:pt idx="70">
                  <c:v>260</c:v>
                </c:pt>
                <c:pt idx="71">
                  <c:v>218</c:v>
                </c:pt>
                <c:pt idx="72">
                  <c:v>190</c:v>
                </c:pt>
                <c:pt idx="73">
                  <c:v>216</c:v>
                </c:pt>
                <c:pt idx="74">
                  <c:v>142</c:v>
                </c:pt>
                <c:pt idx="75">
                  <c:v>76</c:v>
                </c:pt>
                <c:pt idx="76">
                  <c:v>215</c:v>
                </c:pt>
                <c:pt idx="77">
                  <c:v>300</c:v>
                </c:pt>
                <c:pt idx="78">
                  <c:v>207</c:v>
                </c:pt>
                <c:pt idx="79">
                  <c:v>165</c:v>
                </c:pt>
                <c:pt idx="80">
                  <c:v>170</c:v>
                </c:pt>
                <c:pt idx="81">
                  <c:v>133</c:v>
                </c:pt>
                <c:pt idx="82">
                  <c:v>107</c:v>
                </c:pt>
                <c:pt idx="83">
                  <c:v>210</c:v>
                </c:pt>
                <c:pt idx="84">
                  <c:v>247</c:v>
                </c:pt>
                <c:pt idx="85">
                  <c:v>245</c:v>
                </c:pt>
                <c:pt idx="86">
                  <c:v>211</c:v>
                </c:pt>
                <c:pt idx="87">
                  <c:v>182</c:v>
                </c:pt>
                <c:pt idx="88">
                  <c:v>133</c:v>
                </c:pt>
                <c:pt idx="89">
                  <c:v>81</c:v>
                </c:pt>
                <c:pt idx="90">
                  <c:v>240</c:v>
                </c:pt>
                <c:pt idx="91">
                  <c:v>286</c:v>
                </c:pt>
                <c:pt idx="92">
                  <c:v>262</c:v>
                </c:pt>
                <c:pt idx="93">
                  <c:v>305</c:v>
                </c:pt>
                <c:pt idx="94">
                  <c:v>306</c:v>
                </c:pt>
                <c:pt idx="95">
                  <c:v>206</c:v>
                </c:pt>
                <c:pt idx="96">
                  <c:v>140</c:v>
                </c:pt>
                <c:pt idx="97">
                  <c:v>389</c:v>
                </c:pt>
                <c:pt idx="98">
                  <c:v>582</c:v>
                </c:pt>
                <c:pt idx="99">
                  <c:v>377</c:v>
                </c:pt>
                <c:pt idx="100">
                  <c:v>420</c:v>
                </c:pt>
                <c:pt idx="101">
                  <c:v>444</c:v>
                </c:pt>
                <c:pt idx="102">
                  <c:v>251</c:v>
                </c:pt>
                <c:pt idx="103">
                  <c:v>136</c:v>
                </c:pt>
                <c:pt idx="104">
                  <c:v>487</c:v>
                </c:pt>
                <c:pt idx="105">
                  <c:v>555</c:v>
                </c:pt>
                <c:pt idx="106">
                  <c:v>524</c:v>
                </c:pt>
                <c:pt idx="107">
                  <c:v>551</c:v>
                </c:pt>
                <c:pt idx="108">
                  <c:v>444</c:v>
                </c:pt>
                <c:pt idx="109">
                  <c:v>301</c:v>
                </c:pt>
              </c:numCache>
            </c:numRef>
          </c:val>
          <c:smooth val="0"/>
          <c:extLst>
            <c:ext xmlns:c16="http://schemas.microsoft.com/office/drawing/2014/chart" uri="{C3380CC4-5D6E-409C-BE32-E72D297353CC}">
              <c16:uniqueId val="{00000001-E230-405E-9EEC-CAC00A93CD09}"/>
            </c:ext>
          </c:extLst>
        </c:ser>
        <c:dLbls>
          <c:showLegendKey val="0"/>
          <c:showVal val="0"/>
          <c:showCatName val="0"/>
          <c:showSerName val="0"/>
          <c:showPercent val="0"/>
          <c:showBubbleSize val="0"/>
        </c:dLbls>
        <c:smooth val="0"/>
        <c:axId val="488445264"/>
        <c:axId val="494149648"/>
      </c:lineChart>
      <c:dateAx>
        <c:axId val="488445264"/>
        <c:scaling>
          <c:orientation val="minMax"/>
        </c:scaling>
        <c:delete val="0"/>
        <c:axPos val="b"/>
        <c:numFmt formatCode="d/m;@"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Offset val="100"/>
        <c:baseTimeUnit val="days"/>
        <c:majorUnit val="3"/>
        <c:majorTimeUnit val="days"/>
      </c:dateAx>
      <c:valAx>
        <c:axId val="494149648"/>
        <c:scaling>
          <c:orientation val="minMax"/>
          <c:max val="37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250"/>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1.9705715212827803E-2"/>
          <c:w val="0.80334957098880577"/>
          <c:h val="0.7587762916834988"/>
        </c:manualLayout>
      </c:layout>
      <c:lineChart>
        <c:grouping val="standard"/>
        <c:varyColors val="0"/>
        <c:ser>
          <c:idx val="0"/>
          <c:order val="0"/>
          <c:tx>
            <c:strRef>
              <c:f>List1!$A$2</c:f>
              <c:strCache>
                <c:ptCount val="1"/>
                <c:pt idx="0">
                  <c:v>2020</c:v>
                </c:pt>
              </c:strCache>
            </c:strRef>
          </c:tx>
          <c:spPr>
            <a:ln w="28575" cap="rnd">
              <a:solidFill>
                <a:srgbClr val="00B0F0"/>
              </a:solidFill>
              <a:prstDash val="sysDash"/>
              <a:round/>
            </a:ln>
            <a:effectLst/>
          </c:spPr>
          <c:marker>
            <c:symbol val="none"/>
          </c:marker>
          <c:trendline>
            <c:spPr>
              <a:ln w="19050" cap="rnd">
                <a:solidFill>
                  <a:srgbClr val="002060"/>
                </a:solidFill>
                <a:prstDash val="sysDot"/>
              </a:ln>
              <a:effectLst/>
            </c:spPr>
            <c:trendlineType val="movingAvg"/>
            <c:period val="7"/>
            <c:dispRSqr val="0"/>
            <c:dispEq val="0"/>
          </c:trendline>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2:$DT$2</c:f>
              <c:numCache>
                <c:formatCode>General</c:formatCode>
                <c:ptCount val="123"/>
                <c:pt idx="0">
                  <c:v>1.8075979999999998E-2</c:v>
                </c:pt>
                <c:pt idx="1">
                  <c:v>2.3075536000000001E-2</c:v>
                </c:pt>
                <c:pt idx="2">
                  <c:v>2.27365E-2</c:v>
                </c:pt>
                <c:pt idx="3">
                  <c:v>1.7012815000000001E-2</c:v>
                </c:pt>
                <c:pt idx="4">
                  <c:v>2.8339083000000001E-2</c:v>
                </c:pt>
                <c:pt idx="5">
                  <c:v>4.0416667000000003E-2</c:v>
                </c:pt>
                <c:pt idx="6">
                  <c:v>3.2973280000000001E-2</c:v>
                </c:pt>
                <c:pt idx="7">
                  <c:v>2.9399585999999998E-2</c:v>
                </c:pt>
                <c:pt idx="8">
                  <c:v>2.3738130999999999E-2</c:v>
                </c:pt>
                <c:pt idx="9">
                  <c:v>3.7599793999999999E-2</c:v>
                </c:pt>
                <c:pt idx="10">
                  <c:v>3.0975876999999999E-2</c:v>
                </c:pt>
                <c:pt idx="11">
                  <c:v>3.4917839999999999E-2</c:v>
                </c:pt>
                <c:pt idx="12">
                  <c:v>5.0222505000000001E-2</c:v>
                </c:pt>
                <c:pt idx="13">
                  <c:v>4.0567950999999998E-2</c:v>
                </c:pt>
                <c:pt idx="14">
                  <c:v>2.9056313E-2</c:v>
                </c:pt>
                <c:pt idx="15">
                  <c:v>3.947759E-2</c:v>
                </c:pt>
                <c:pt idx="16">
                  <c:v>4.5838359000000002E-2</c:v>
                </c:pt>
                <c:pt idx="17">
                  <c:v>3.4137727999999999E-2</c:v>
                </c:pt>
                <c:pt idx="18">
                  <c:v>5.3213545000000001E-2</c:v>
                </c:pt>
                <c:pt idx="19">
                  <c:v>5.078125E-2</c:v>
                </c:pt>
                <c:pt idx="20">
                  <c:v>4.5939294999999998E-2</c:v>
                </c:pt>
                <c:pt idx="21">
                  <c:v>3.7337316000000002E-2</c:v>
                </c:pt>
                <c:pt idx="22">
                  <c:v>4.2558815999999999E-2</c:v>
                </c:pt>
                <c:pt idx="23">
                  <c:v>5.3549191000000003E-2</c:v>
                </c:pt>
                <c:pt idx="24">
                  <c:v>3.1276416000000001E-2</c:v>
                </c:pt>
                <c:pt idx="25">
                  <c:v>5.0128754999999997E-2</c:v>
                </c:pt>
                <c:pt idx="26">
                  <c:v>0.143372046</c:v>
                </c:pt>
                <c:pt idx="27">
                  <c:v>0.143808995</c:v>
                </c:pt>
                <c:pt idx="28">
                  <c:v>4.1826632000000002E-2</c:v>
                </c:pt>
                <c:pt idx="29">
                  <c:v>4.6535154000000002E-2</c:v>
                </c:pt>
                <c:pt idx="30">
                  <c:v>3.5326086999999999E-2</c:v>
                </c:pt>
                <c:pt idx="31">
                  <c:v>4.7576098999999997E-2</c:v>
                </c:pt>
                <c:pt idx="32">
                  <c:v>4.7609441000000002E-2</c:v>
                </c:pt>
                <c:pt idx="33">
                  <c:v>9.0586146000000006E-2</c:v>
                </c:pt>
                <c:pt idx="34">
                  <c:v>7.6923077000000006E-2</c:v>
                </c:pt>
                <c:pt idx="35">
                  <c:v>5.4677206999999999E-2</c:v>
                </c:pt>
                <c:pt idx="36">
                  <c:v>4.6905411000000001E-2</c:v>
                </c:pt>
                <c:pt idx="37">
                  <c:v>4.5196634999999999E-2</c:v>
                </c:pt>
                <c:pt idx="38">
                  <c:v>3.6327344999999997E-2</c:v>
                </c:pt>
                <c:pt idx="39">
                  <c:v>4.4881716000000002E-2</c:v>
                </c:pt>
                <c:pt idx="40">
                  <c:v>5.3775744E-2</c:v>
                </c:pt>
                <c:pt idx="41">
                  <c:v>7.309185E-2</c:v>
                </c:pt>
                <c:pt idx="42">
                  <c:v>3.5968299000000002E-2</c:v>
                </c:pt>
                <c:pt idx="43">
                  <c:v>4.0281973999999998E-2</c:v>
                </c:pt>
                <c:pt idx="44">
                  <c:v>4.4480718000000002E-2</c:v>
                </c:pt>
                <c:pt idx="45">
                  <c:v>4.1322313999999999E-2</c:v>
                </c:pt>
                <c:pt idx="46">
                  <c:v>4.7213115E-2</c:v>
                </c:pt>
                <c:pt idx="47">
                  <c:v>5.0335570000000003E-2</c:v>
                </c:pt>
                <c:pt idx="48">
                  <c:v>3.8508807999999999E-2</c:v>
                </c:pt>
                <c:pt idx="49">
                  <c:v>3.5398230000000003E-2</c:v>
                </c:pt>
                <c:pt idx="50">
                  <c:v>4.2383484999999999E-2</c:v>
                </c:pt>
                <c:pt idx="51">
                  <c:v>3.8473189999999997E-2</c:v>
                </c:pt>
                <c:pt idx="52">
                  <c:v>4.0355992E-2</c:v>
                </c:pt>
                <c:pt idx="53">
                  <c:v>4.3135969000000003E-2</c:v>
                </c:pt>
                <c:pt idx="54">
                  <c:v>4.2496171999999999E-2</c:v>
                </c:pt>
                <c:pt idx="55">
                  <c:v>4.7032474999999997E-2</c:v>
                </c:pt>
                <c:pt idx="56">
                  <c:v>3.8602379999999999E-2</c:v>
                </c:pt>
                <c:pt idx="57">
                  <c:v>4.0965988000000002E-2</c:v>
                </c:pt>
                <c:pt idx="58">
                  <c:v>4.2748702E-2</c:v>
                </c:pt>
                <c:pt idx="59">
                  <c:v>3.9223402999999997E-2</c:v>
                </c:pt>
                <c:pt idx="60">
                  <c:v>3.3755788000000002E-2</c:v>
                </c:pt>
                <c:pt idx="61">
                  <c:v>2.6762957E-2</c:v>
                </c:pt>
                <c:pt idx="62">
                  <c:v>3.7023044999999997E-2</c:v>
                </c:pt>
                <c:pt idx="63">
                  <c:v>3.1629228000000002E-2</c:v>
                </c:pt>
                <c:pt idx="64">
                  <c:v>3.8744949000000001E-2</c:v>
                </c:pt>
                <c:pt idx="65">
                  <c:v>4.0316774999999999E-2</c:v>
                </c:pt>
                <c:pt idx="66">
                  <c:v>3.5588155000000003E-2</c:v>
                </c:pt>
                <c:pt idx="67">
                  <c:v>4.2472300999999997E-2</c:v>
                </c:pt>
                <c:pt idx="68">
                  <c:v>3.2843404E-2</c:v>
                </c:pt>
                <c:pt idx="69">
                  <c:v>3.9617486E-2</c:v>
                </c:pt>
                <c:pt idx="70">
                  <c:v>3.1466912999999999E-2</c:v>
                </c:pt>
                <c:pt idx="71">
                  <c:v>3.3705279999999997E-2</c:v>
                </c:pt>
                <c:pt idx="72">
                  <c:v>3.9636455000000001E-2</c:v>
                </c:pt>
                <c:pt idx="73">
                  <c:v>4.7490556000000003E-2</c:v>
                </c:pt>
                <c:pt idx="74">
                  <c:v>4.1880235000000002E-2</c:v>
                </c:pt>
                <c:pt idx="75">
                  <c:v>4.5765695000000002E-2</c:v>
                </c:pt>
                <c:pt idx="76">
                  <c:v>3.9274924000000003E-2</c:v>
                </c:pt>
                <c:pt idx="77">
                  <c:v>2.9784886999999999E-2</c:v>
                </c:pt>
                <c:pt idx="78">
                  <c:v>4.1872562000000002E-2</c:v>
                </c:pt>
                <c:pt idx="79">
                  <c:v>4.3892880000000002E-2</c:v>
                </c:pt>
                <c:pt idx="80">
                  <c:v>5.1468803E-2</c:v>
                </c:pt>
                <c:pt idx="81">
                  <c:v>4.2627677000000003E-2</c:v>
                </c:pt>
                <c:pt idx="82">
                  <c:v>4.5330206999999997E-2</c:v>
                </c:pt>
                <c:pt idx="83">
                  <c:v>5.8652245999999998E-2</c:v>
                </c:pt>
                <c:pt idx="84">
                  <c:v>3.8850667999999998E-2</c:v>
                </c:pt>
                <c:pt idx="85">
                  <c:v>4.5646468000000003E-2</c:v>
                </c:pt>
                <c:pt idx="86">
                  <c:v>4.7383229999999998E-2</c:v>
                </c:pt>
                <c:pt idx="87">
                  <c:v>4.5444661999999997E-2</c:v>
                </c:pt>
                <c:pt idx="88">
                  <c:v>5.0055412000000001E-2</c:v>
                </c:pt>
                <c:pt idx="89">
                  <c:v>6.3745626E-2</c:v>
                </c:pt>
                <c:pt idx="90">
                  <c:v>4.7643182999999999E-2</c:v>
                </c:pt>
                <c:pt idx="91">
                  <c:v>4.3858713000000001E-2</c:v>
                </c:pt>
                <c:pt idx="92">
                  <c:v>5.3335727999999999E-2</c:v>
                </c:pt>
                <c:pt idx="93">
                  <c:v>5.7747671E-2</c:v>
                </c:pt>
                <c:pt idx="94">
                  <c:v>6.6112121999999995E-2</c:v>
                </c:pt>
                <c:pt idx="95">
                  <c:v>6.5621795999999996E-2</c:v>
                </c:pt>
                <c:pt idx="96">
                  <c:v>7.1237279000000001E-2</c:v>
                </c:pt>
                <c:pt idx="97">
                  <c:v>7.6923077000000006E-2</c:v>
                </c:pt>
                <c:pt idx="98">
                  <c:v>7.0665288000000007E-2</c:v>
                </c:pt>
                <c:pt idx="99">
                  <c:v>8.2655910999999999E-2</c:v>
                </c:pt>
                <c:pt idx="100">
                  <c:v>8.4349004000000005E-2</c:v>
                </c:pt>
                <c:pt idx="101">
                  <c:v>9.5258281E-2</c:v>
                </c:pt>
                <c:pt idx="102">
                  <c:v>9.5540406999999994E-2</c:v>
                </c:pt>
                <c:pt idx="103">
                  <c:v>0.106330255</c:v>
                </c:pt>
                <c:pt idx="104">
                  <c:v>0.11015514799999999</c:v>
                </c:pt>
                <c:pt idx="105">
                  <c:v>9.0016552999999999E-2</c:v>
                </c:pt>
                <c:pt idx="106">
                  <c:v>0.107277259</c:v>
                </c:pt>
                <c:pt idx="107">
                  <c:v>0.114344003</c:v>
                </c:pt>
                <c:pt idx="108">
                  <c:v>0.118255415</c:v>
                </c:pt>
                <c:pt idx="109">
                  <c:v>0.114087118</c:v>
                </c:pt>
                <c:pt idx="110">
                  <c:v>0.116276016</c:v>
                </c:pt>
                <c:pt idx="111">
                  <c:v>0.102547107</c:v>
                </c:pt>
                <c:pt idx="112">
                  <c:v>9.4641936999999995E-2</c:v>
                </c:pt>
                <c:pt idx="113">
                  <c:v>0.10968749999999999</c:v>
                </c:pt>
                <c:pt idx="114">
                  <c:v>0.120294052</c:v>
                </c:pt>
                <c:pt idx="115">
                  <c:v>0.12662435799999999</c:v>
                </c:pt>
                <c:pt idx="116">
                  <c:v>0.13215459099999999</c:v>
                </c:pt>
                <c:pt idx="117">
                  <c:v>0.12470756400000001</c:v>
                </c:pt>
                <c:pt idx="118">
                  <c:v>0.12877340500000001</c:v>
                </c:pt>
                <c:pt idx="119">
                  <c:v>0.118513668</c:v>
                </c:pt>
                <c:pt idx="120">
                  <c:v>0.121220391</c:v>
                </c:pt>
                <c:pt idx="121">
                  <c:v>0.144320121</c:v>
                </c:pt>
                <c:pt idx="122">
                  <c:v>0.15283642</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2021</c:v>
                </c:pt>
              </c:strCache>
            </c:strRef>
          </c:tx>
          <c:spPr>
            <a:ln w="28575" cap="rnd">
              <a:solidFill>
                <a:srgbClr val="00B050"/>
              </a:solidFill>
              <a:round/>
            </a:ln>
            <a:effectLst/>
          </c:spPr>
          <c:marker>
            <c:symbol val="none"/>
          </c:marker>
          <c:trendline>
            <c:spPr>
              <a:ln w="19050" cap="rnd">
                <a:solidFill>
                  <a:schemeClr val="accent6">
                    <a:lumMod val="75000"/>
                  </a:schemeClr>
                </a:solidFill>
                <a:prstDash val="sysDot"/>
              </a:ln>
              <a:effectLst/>
            </c:spPr>
            <c:trendlineType val="movingAvg"/>
            <c:period val="7"/>
            <c:dispRSqr val="0"/>
            <c:dispEq val="0"/>
          </c:trendline>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3:$DT$3</c:f>
              <c:numCache>
                <c:formatCode>General</c:formatCode>
                <c:ptCount val="123"/>
                <c:pt idx="0">
                  <c:v>2.2333565999999999E-2</c:v>
                </c:pt>
                <c:pt idx="1">
                  <c:v>1.7889769E-2</c:v>
                </c:pt>
                <c:pt idx="2">
                  <c:v>1.2602154000000001E-2</c:v>
                </c:pt>
                <c:pt idx="3">
                  <c:v>1.2953368E-2</c:v>
                </c:pt>
                <c:pt idx="4">
                  <c:v>1.3265898E-2</c:v>
                </c:pt>
                <c:pt idx="5">
                  <c:v>1.3654754E-2</c:v>
                </c:pt>
                <c:pt idx="6">
                  <c:v>1.0266554000000001E-2</c:v>
                </c:pt>
                <c:pt idx="7">
                  <c:v>1.7655547000000001E-2</c:v>
                </c:pt>
                <c:pt idx="8">
                  <c:v>9.5800520000000004E-3</c:v>
                </c:pt>
                <c:pt idx="9">
                  <c:v>9.5863489999999992E-3</c:v>
                </c:pt>
                <c:pt idx="10">
                  <c:v>7.8325259999999994E-3</c:v>
                </c:pt>
                <c:pt idx="11">
                  <c:v>5.9996759999999998E-3</c:v>
                </c:pt>
                <c:pt idx="12">
                  <c:v>8.3918220000000002E-3</c:v>
                </c:pt>
                <c:pt idx="13">
                  <c:v>6.039076E-3</c:v>
                </c:pt>
                <c:pt idx="14">
                  <c:v>6.9199159999999999E-3</c:v>
                </c:pt>
                <c:pt idx="15">
                  <c:v>4.7310429999999999E-3</c:v>
                </c:pt>
                <c:pt idx="16">
                  <c:v>4.761248E-3</c:v>
                </c:pt>
                <c:pt idx="17">
                  <c:v>3.9391180000000001E-3</c:v>
                </c:pt>
                <c:pt idx="18">
                  <c:v>4.8769670000000003E-3</c:v>
                </c:pt>
                <c:pt idx="19">
                  <c:v>6.5987659999999998E-3</c:v>
                </c:pt>
                <c:pt idx="20">
                  <c:v>3.6800309999999998E-3</c:v>
                </c:pt>
                <c:pt idx="21">
                  <c:v>4.4395119999999996E-3</c:v>
                </c:pt>
                <c:pt idx="22">
                  <c:v>5.127993E-3</c:v>
                </c:pt>
                <c:pt idx="23">
                  <c:v>3.964787E-3</c:v>
                </c:pt>
                <c:pt idx="24">
                  <c:v>4.4825500000000001E-3</c:v>
                </c:pt>
                <c:pt idx="25">
                  <c:v>3.0105370000000002E-3</c:v>
                </c:pt>
                <c:pt idx="26">
                  <c:v>6.7796610000000002E-3</c:v>
                </c:pt>
                <c:pt idx="27">
                  <c:v>4.2168120000000003E-3</c:v>
                </c:pt>
                <c:pt idx="28">
                  <c:v>3.989121E-3</c:v>
                </c:pt>
                <c:pt idx="29">
                  <c:v>4.3389479999999996E-3</c:v>
                </c:pt>
                <c:pt idx="30">
                  <c:v>3.1725239999999999E-3</c:v>
                </c:pt>
                <c:pt idx="31">
                  <c:v>3.4166729999999998E-3</c:v>
                </c:pt>
                <c:pt idx="32">
                  <c:v>4.7278199999999998E-3</c:v>
                </c:pt>
                <c:pt idx="33">
                  <c:v>6.1675380000000002E-3</c:v>
                </c:pt>
                <c:pt idx="34">
                  <c:v>9.8456210000000006E-3</c:v>
                </c:pt>
                <c:pt idx="35">
                  <c:v>8.8898080000000008E-3</c:v>
                </c:pt>
                <c:pt idx="36">
                  <c:v>1.1578768999999999E-2</c:v>
                </c:pt>
                <c:pt idx="37">
                  <c:v>8.2513989999999995E-3</c:v>
                </c:pt>
                <c:pt idx="38">
                  <c:v>7.219067E-3</c:v>
                </c:pt>
                <c:pt idx="39">
                  <c:v>6.8737859999999998E-3</c:v>
                </c:pt>
                <c:pt idx="40">
                  <c:v>1.1301418000000001E-2</c:v>
                </c:pt>
                <c:pt idx="41">
                  <c:v>7.6750769999999998E-3</c:v>
                </c:pt>
                <c:pt idx="42">
                  <c:v>1.0882944E-2</c:v>
                </c:pt>
                <c:pt idx="43">
                  <c:v>8.8241329999999996E-3</c:v>
                </c:pt>
                <c:pt idx="44">
                  <c:v>6.5150950000000003E-3</c:v>
                </c:pt>
                <c:pt idx="45">
                  <c:v>5.2594449999999997E-3</c:v>
                </c:pt>
                <c:pt idx="46">
                  <c:v>6.2667859999999999E-3</c:v>
                </c:pt>
                <c:pt idx="47">
                  <c:v>7.6966930000000001E-3</c:v>
                </c:pt>
                <c:pt idx="48">
                  <c:v>7.9518309999999995E-3</c:v>
                </c:pt>
                <c:pt idx="49">
                  <c:v>9.5592309999999996E-3</c:v>
                </c:pt>
                <c:pt idx="50">
                  <c:v>9.1353660000000007E-3</c:v>
                </c:pt>
                <c:pt idx="51">
                  <c:v>6.050288E-3</c:v>
                </c:pt>
                <c:pt idx="52">
                  <c:v>4.1635689999999998E-3</c:v>
                </c:pt>
                <c:pt idx="53">
                  <c:v>4.4647189999999998E-3</c:v>
                </c:pt>
                <c:pt idx="54">
                  <c:v>6.1967469999999998E-3</c:v>
                </c:pt>
                <c:pt idx="55">
                  <c:v>4.9996880000000004E-3</c:v>
                </c:pt>
                <c:pt idx="56">
                  <c:v>7.2916370000000001E-3</c:v>
                </c:pt>
                <c:pt idx="57">
                  <c:v>6.5452560000000002E-3</c:v>
                </c:pt>
                <c:pt idx="58">
                  <c:v>6.3334259999999996E-3</c:v>
                </c:pt>
                <c:pt idx="59">
                  <c:v>3.0701069999999999E-3</c:v>
                </c:pt>
                <c:pt idx="60">
                  <c:v>3.073798E-3</c:v>
                </c:pt>
                <c:pt idx="61">
                  <c:v>4.8780489999999998E-3</c:v>
                </c:pt>
                <c:pt idx="62">
                  <c:v>5.28745E-3</c:v>
                </c:pt>
                <c:pt idx="63">
                  <c:v>7.3958540000000003E-3</c:v>
                </c:pt>
                <c:pt idx="64">
                  <c:v>7.8762850000000002E-3</c:v>
                </c:pt>
                <c:pt idx="65">
                  <c:v>5.8255779999999997E-3</c:v>
                </c:pt>
                <c:pt idx="66">
                  <c:v>3.3783149999999998E-3</c:v>
                </c:pt>
                <c:pt idx="67">
                  <c:v>3.4414060000000002E-3</c:v>
                </c:pt>
                <c:pt idx="68">
                  <c:v>5.324868E-3</c:v>
                </c:pt>
                <c:pt idx="69">
                  <c:v>6.0141509999999997E-3</c:v>
                </c:pt>
                <c:pt idx="70">
                  <c:v>7.9812210000000001E-3</c:v>
                </c:pt>
                <c:pt idx="71">
                  <c:v>7.3784990000000002E-3</c:v>
                </c:pt>
                <c:pt idx="72">
                  <c:v>6.2362620000000002E-3</c:v>
                </c:pt>
                <c:pt idx="73">
                  <c:v>4.0599909999999998E-3</c:v>
                </c:pt>
                <c:pt idx="74">
                  <c:v>3.9450689999999998E-3</c:v>
                </c:pt>
                <c:pt idx="75">
                  <c:v>5.1132210000000003E-3</c:v>
                </c:pt>
                <c:pt idx="76">
                  <c:v>7.7571669999999997E-3</c:v>
                </c:pt>
                <c:pt idx="77">
                  <c:v>8.7525420000000003E-3</c:v>
                </c:pt>
                <c:pt idx="78">
                  <c:v>8.5341840000000002E-3</c:v>
                </c:pt>
                <c:pt idx="79">
                  <c:v>6.2925630000000001E-3</c:v>
                </c:pt>
                <c:pt idx="80">
                  <c:v>4.372346E-3</c:v>
                </c:pt>
                <c:pt idx="81">
                  <c:v>4.7891449999999999E-3</c:v>
                </c:pt>
                <c:pt idx="82">
                  <c:v>6.8274080000000001E-3</c:v>
                </c:pt>
                <c:pt idx="83">
                  <c:v>7.6480029999999996E-3</c:v>
                </c:pt>
                <c:pt idx="84">
                  <c:v>9.1155539999999997E-3</c:v>
                </c:pt>
                <c:pt idx="85">
                  <c:v>1.1062865999999999E-2</c:v>
                </c:pt>
                <c:pt idx="86">
                  <c:v>7.4277570000000001E-3</c:v>
                </c:pt>
                <c:pt idx="87">
                  <c:v>7.8765680000000005E-3</c:v>
                </c:pt>
                <c:pt idx="88">
                  <c:v>9.2369700000000006E-3</c:v>
                </c:pt>
                <c:pt idx="89">
                  <c:v>7.8244079999999997E-3</c:v>
                </c:pt>
                <c:pt idx="90">
                  <c:v>8.8624199999999993E-3</c:v>
                </c:pt>
                <c:pt idx="91">
                  <c:v>8.84099E-3</c:v>
                </c:pt>
                <c:pt idx="92">
                  <c:v>6.0573809999999997E-3</c:v>
                </c:pt>
                <c:pt idx="93">
                  <c:v>5.6136559999999999E-3</c:v>
                </c:pt>
                <c:pt idx="94">
                  <c:v>1.1708623E-2</c:v>
                </c:pt>
                <c:pt idx="95">
                  <c:v>1.4739428000000001E-2</c:v>
                </c:pt>
                <c:pt idx="96">
                  <c:v>1.6833852E-2</c:v>
                </c:pt>
                <c:pt idx="97">
                  <c:v>9.2967870000000008E-3</c:v>
                </c:pt>
                <c:pt idx="98">
                  <c:v>1.3405871999999999E-2</c:v>
                </c:pt>
                <c:pt idx="99">
                  <c:v>1.573631E-2</c:v>
                </c:pt>
                <c:pt idx="100">
                  <c:v>1.6439239000000001E-2</c:v>
                </c:pt>
                <c:pt idx="101">
                  <c:v>1.7089060999999999E-2</c:v>
                </c:pt>
                <c:pt idx="102">
                  <c:v>1.56922E-2</c:v>
                </c:pt>
                <c:pt idx="103">
                  <c:v>1.5615616000000001E-2</c:v>
                </c:pt>
                <c:pt idx="104">
                  <c:v>2.2216177E-2</c:v>
                </c:pt>
                <c:pt idx="105">
                  <c:v>2.5757246000000001E-2</c:v>
                </c:pt>
                <c:pt idx="106">
                  <c:v>2.3654818000000001E-2</c:v>
                </c:pt>
                <c:pt idx="107">
                  <c:v>2.1389317000000001E-2</c:v>
                </c:pt>
                <c:pt idx="108">
                  <c:v>1.6880393E-2</c:v>
                </c:pt>
                <c:pt idx="109">
                  <c:v>1.9872250000000001E-2</c:v>
                </c:pt>
              </c:numCache>
            </c:numRef>
          </c:val>
          <c:smooth val="0"/>
          <c:extLst>
            <c:ext xmlns:c16="http://schemas.microsoft.com/office/drawing/2014/chart" uri="{C3380CC4-5D6E-409C-BE32-E72D297353CC}">
              <c16:uniqueId val="{00000001-E230-405E-9EEC-CAC00A93CD09}"/>
            </c:ext>
          </c:extLst>
        </c:ser>
        <c:dLbls>
          <c:showLegendKey val="0"/>
          <c:showVal val="0"/>
          <c:showCatName val="0"/>
          <c:showSerName val="0"/>
          <c:showPercent val="0"/>
          <c:showBubbleSize val="0"/>
        </c:dLbls>
        <c:smooth val="0"/>
        <c:axId val="488445264"/>
        <c:axId val="494149648"/>
      </c:lineChart>
      <c:dateAx>
        <c:axId val="488445264"/>
        <c:scaling>
          <c:orientation val="minMax"/>
        </c:scaling>
        <c:delete val="0"/>
        <c:axPos val="b"/>
        <c:numFmt formatCode="d/m;@"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Offset val="100"/>
        <c:baseTimeUnit val="days"/>
        <c:majorUnit val="3"/>
        <c:majorTimeUnit val="days"/>
      </c:dateAx>
      <c:valAx>
        <c:axId val="494149648"/>
        <c:scaling>
          <c:orientation val="minMax"/>
          <c:max val="0.2"/>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5.000000000000001E-2"/>
      </c:valAx>
      <c:spPr>
        <a:noFill/>
        <a:ln>
          <a:noFill/>
        </a:ln>
        <a:effectLst/>
      </c:spPr>
    </c:plotArea>
    <c:legend>
      <c:legendPos val="r"/>
      <c:legendEntry>
        <c:idx val="2"/>
        <c:delete val="1"/>
      </c:legendEntry>
      <c:legendEntry>
        <c:idx val="3"/>
        <c:delete val="1"/>
      </c:legendEntry>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1.7338673528478215E-2"/>
          <c:w val="0.80334957098880577"/>
          <c:h val="0.7587762916834988"/>
        </c:manualLayout>
      </c:layout>
      <c:lineChart>
        <c:grouping val="standard"/>
        <c:varyColors val="0"/>
        <c:ser>
          <c:idx val="0"/>
          <c:order val="0"/>
          <c:tx>
            <c:strRef>
              <c:f>List1!$A$2</c:f>
              <c:strCache>
                <c:ptCount val="1"/>
                <c:pt idx="0">
                  <c:v>2020</c:v>
                </c:pt>
              </c:strCache>
            </c:strRef>
          </c:tx>
          <c:spPr>
            <a:ln w="28575" cap="rnd">
              <a:solidFill>
                <a:srgbClr val="00B0F0"/>
              </a:solidFill>
              <a:prstDash val="sysDash"/>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2:$DT$2</c:f>
              <c:numCache>
                <c:formatCode>General</c:formatCode>
                <c:ptCount val="123"/>
                <c:pt idx="0">
                  <c:v>73</c:v>
                </c:pt>
                <c:pt idx="1">
                  <c:v>75</c:v>
                </c:pt>
                <c:pt idx="2">
                  <c:v>65</c:v>
                </c:pt>
                <c:pt idx="3">
                  <c:v>60</c:v>
                </c:pt>
                <c:pt idx="4">
                  <c:v>60</c:v>
                </c:pt>
                <c:pt idx="5">
                  <c:v>59</c:v>
                </c:pt>
                <c:pt idx="6">
                  <c:v>61</c:v>
                </c:pt>
                <c:pt idx="7">
                  <c:v>60</c:v>
                </c:pt>
                <c:pt idx="8">
                  <c:v>63</c:v>
                </c:pt>
                <c:pt idx="9">
                  <c:v>66</c:v>
                </c:pt>
                <c:pt idx="10">
                  <c:v>65</c:v>
                </c:pt>
                <c:pt idx="11">
                  <c:v>69</c:v>
                </c:pt>
                <c:pt idx="12">
                  <c:v>67</c:v>
                </c:pt>
                <c:pt idx="13">
                  <c:v>68</c:v>
                </c:pt>
                <c:pt idx="14">
                  <c:v>77</c:v>
                </c:pt>
                <c:pt idx="15">
                  <c:v>78</c:v>
                </c:pt>
                <c:pt idx="16">
                  <c:v>84</c:v>
                </c:pt>
                <c:pt idx="17">
                  <c:v>83</c:v>
                </c:pt>
                <c:pt idx="18">
                  <c:v>82</c:v>
                </c:pt>
                <c:pt idx="19">
                  <c:v>80</c:v>
                </c:pt>
                <c:pt idx="20">
                  <c:v>74</c:v>
                </c:pt>
                <c:pt idx="21">
                  <c:v>75</c:v>
                </c:pt>
                <c:pt idx="22">
                  <c:v>77</c:v>
                </c:pt>
                <c:pt idx="23">
                  <c:v>78</c:v>
                </c:pt>
                <c:pt idx="24">
                  <c:v>67</c:v>
                </c:pt>
                <c:pt idx="25">
                  <c:v>64</c:v>
                </c:pt>
                <c:pt idx="26">
                  <c:v>61</c:v>
                </c:pt>
                <c:pt idx="27">
                  <c:v>66</c:v>
                </c:pt>
                <c:pt idx="28">
                  <c:v>69</c:v>
                </c:pt>
                <c:pt idx="29">
                  <c:v>71</c:v>
                </c:pt>
                <c:pt idx="30">
                  <c:v>75</c:v>
                </c:pt>
                <c:pt idx="31">
                  <c:v>72</c:v>
                </c:pt>
                <c:pt idx="32">
                  <c:v>71</c:v>
                </c:pt>
                <c:pt idx="33">
                  <c:v>70</c:v>
                </c:pt>
                <c:pt idx="34">
                  <c:v>73</c:v>
                </c:pt>
                <c:pt idx="35">
                  <c:v>69</c:v>
                </c:pt>
                <c:pt idx="36">
                  <c:v>77</c:v>
                </c:pt>
                <c:pt idx="37">
                  <c:v>85</c:v>
                </c:pt>
                <c:pt idx="38">
                  <c:v>73</c:v>
                </c:pt>
                <c:pt idx="39">
                  <c:v>69</c:v>
                </c:pt>
                <c:pt idx="40">
                  <c:v>64</c:v>
                </c:pt>
                <c:pt idx="41">
                  <c:v>65</c:v>
                </c:pt>
                <c:pt idx="42">
                  <c:v>71</c:v>
                </c:pt>
                <c:pt idx="43">
                  <c:v>71</c:v>
                </c:pt>
                <c:pt idx="44">
                  <c:v>80</c:v>
                </c:pt>
                <c:pt idx="45">
                  <c:v>76</c:v>
                </c:pt>
                <c:pt idx="46">
                  <c:v>74</c:v>
                </c:pt>
                <c:pt idx="47">
                  <c:v>74</c:v>
                </c:pt>
                <c:pt idx="48">
                  <c:v>74</c:v>
                </c:pt>
                <c:pt idx="49">
                  <c:v>71</c:v>
                </c:pt>
                <c:pt idx="50">
                  <c:v>78</c:v>
                </c:pt>
                <c:pt idx="51">
                  <c:v>92</c:v>
                </c:pt>
                <c:pt idx="52">
                  <c:v>91</c:v>
                </c:pt>
                <c:pt idx="53">
                  <c:v>94</c:v>
                </c:pt>
                <c:pt idx="54">
                  <c:v>92</c:v>
                </c:pt>
                <c:pt idx="55">
                  <c:v>91</c:v>
                </c:pt>
                <c:pt idx="56">
                  <c:v>109</c:v>
                </c:pt>
                <c:pt idx="57">
                  <c:v>114</c:v>
                </c:pt>
                <c:pt idx="58">
                  <c:v>116</c:v>
                </c:pt>
                <c:pt idx="59">
                  <c:v>117</c:v>
                </c:pt>
                <c:pt idx="60">
                  <c:v>114</c:v>
                </c:pt>
                <c:pt idx="61">
                  <c:v>116</c:v>
                </c:pt>
                <c:pt idx="62">
                  <c:v>109</c:v>
                </c:pt>
                <c:pt idx="63">
                  <c:v>113</c:v>
                </c:pt>
                <c:pt idx="64">
                  <c:v>115</c:v>
                </c:pt>
                <c:pt idx="65">
                  <c:v>110</c:v>
                </c:pt>
                <c:pt idx="66">
                  <c:v>105</c:v>
                </c:pt>
                <c:pt idx="67">
                  <c:v>106</c:v>
                </c:pt>
                <c:pt idx="68">
                  <c:v>104</c:v>
                </c:pt>
                <c:pt idx="69">
                  <c:v>107</c:v>
                </c:pt>
                <c:pt idx="70">
                  <c:v>113</c:v>
                </c:pt>
                <c:pt idx="71">
                  <c:v>110</c:v>
                </c:pt>
                <c:pt idx="72">
                  <c:v>101</c:v>
                </c:pt>
                <c:pt idx="73">
                  <c:v>106</c:v>
                </c:pt>
                <c:pt idx="74">
                  <c:v>113</c:v>
                </c:pt>
                <c:pt idx="75">
                  <c:v>103</c:v>
                </c:pt>
                <c:pt idx="76">
                  <c:v>101</c:v>
                </c:pt>
                <c:pt idx="77">
                  <c:v>113</c:v>
                </c:pt>
                <c:pt idx="78">
                  <c:v>103</c:v>
                </c:pt>
                <c:pt idx="79">
                  <c:v>108</c:v>
                </c:pt>
                <c:pt idx="80">
                  <c:v>116</c:v>
                </c:pt>
                <c:pt idx="81">
                  <c:v>119</c:v>
                </c:pt>
                <c:pt idx="82">
                  <c:v>124</c:v>
                </c:pt>
                <c:pt idx="83">
                  <c:v>128</c:v>
                </c:pt>
                <c:pt idx="84">
                  <c:v>129</c:v>
                </c:pt>
                <c:pt idx="85">
                  <c:v>131</c:v>
                </c:pt>
                <c:pt idx="86">
                  <c:v>136</c:v>
                </c:pt>
                <c:pt idx="87">
                  <c:v>147</c:v>
                </c:pt>
                <c:pt idx="88">
                  <c:v>156</c:v>
                </c:pt>
                <c:pt idx="89">
                  <c:v>155</c:v>
                </c:pt>
                <c:pt idx="90">
                  <c:v>154</c:v>
                </c:pt>
                <c:pt idx="91">
                  <c:v>171</c:v>
                </c:pt>
                <c:pt idx="92">
                  <c:v>178</c:v>
                </c:pt>
                <c:pt idx="93">
                  <c:v>180</c:v>
                </c:pt>
                <c:pt idx="94">
                  <c:v>195</c:v>
                </c:pt>
                <c:pt idx="95">
                  <c:v>207</c:v>
                </c:pt>
                <c:pt idx="96">
                  <c:v>209</c:v>
                </c:pt>
                <c:pt idx="97">
                  <c:v>220</c:v>
                </c:pt>
                <c:pt idx="98">
                  <c:v>256</c:v>
                </c:pt>
                <c:pt idx="99">
                  <c:v>253</c:v>
                </c:pt>
                <c:pt idx="100">
                  <c:v>266</c:v>
                </c:pt>
                <c:pt idx="101">
                  <c:v>272</c:v>
                </c:pt>
                <c:pt idx="102">
                  <c:v>310</c:v>
                </c:pt>
                <c:pt idx="103">
                  <c:v>283</c:v>
                </c:pt>
                <c:pt idx="104">
                  <c:v>305</c:v>
                </c:pt>
                <c:pt idx="105">
                  <c:v>339</c:v>
                </c:pt>
                <c:pt idx="106">
                  <c:v>369</c:v>
                </c:pt>
                <c:pt idx="107">
                  <c:v>399</c:v>
                </c:pt>
                <c:pt idx="108">
                  <c:v>495</c:v>
                </c:pt>
                <c:pt idx="109">
                  <c:v>525</c:v>
                </c:pt>
                <c:pt idx="110">
                  <c:v>508</c:v>
                </c:pt>
                <c:pt idx="111">
                  <c:v>532</c:v>
                </c:pt>
                <c:pt idx="112">
                  <c:v>612</c:v>
                </c:pt>
                <c:pt idx="113">
                  <c:v>637</c:v>
                </c:pt>
                <c:pt idx="114">
                  <c:v>710</c:v>
                </c:pt>
                <c:pt idx="115">
                  <c:v>768</c:v>
                </c:pt>
                <c:pt idx="116">
                  <c:v>825</c:v>
                </c:pt>
                <c:pt idx="117">
                  <c:v>797</c:v>
                </c:pt>
                <c:pt idx="118">
                  <c:v>823</c:v>
                </c:pt>
                <c:pt idx="119">
                  <c:v>845</c:v>
                </c:pt>
                <c:pt idx="120">
                  <c:v>998</c:v>
                </c:pt>
                <c:pt idx="121">
                  <c:v>1062</c:v>
                </c:pt>
                <c:pt idx="122">
                  <c:v>1164</c:v>
                </c:pt>
              </c:numCache>
            </c:numRef>
          </c:val>
          <c:smooth val="0"/>
          <c:extLst>
            <c:ext xmlns:c16="http://schemas.microsoft.com/office/drawing/2014/chart" uri="{C3380CC4-5D6E-409C-BE32-E72D297353CC}">
              <c16:uniqueId val="{00000000-64A3-4CB3-9339-304CB1D10FBD}"/>
            </c:ext>
          </c:extLst>
        </c:ser>
        <c:ser>
          <c:idx val="1"/>
          <c:order val="1"/>
          <c:tx>
            <c:strRef>
              <c:f>List1!$A$3</c:f>
              <c:strCache>
                <c:ptCount val="1"/>
                <c:pt idx="0">
                  <c:v>2021</c:v>
                </c:pt>
              </c:strCache>
            </c:strRef>
          </c:tx>
          <c:spPr>
            <a:ln w="28575" cap="rnd">
              <a:solidFill>
                <a:srgbClr val="00B050"/>
              </a:solidFill>
              <a:round/>
            </a:ln>
            <a:effectLst/>
          </c:spPr>
          <c:marker>
            <c:symbol val="none"/>
          </c:marker>
          <c:cat>
            <c:numRef>
              <c:f>List1!$B$1:$DT$1</c:f>
              <c:numCache>
                <c:formatCode>d/m;@</c:formatCode>
                <c:ptCount val="123"/>
                <c:pt idx="0">
                  <c:v>43983</c:v>
                </c:pt>
                <c:pt idx="1">
                  <c:v>43984</c:v>
                </c:pt>
                <c:pt idx="2">
                  <c:v>43985</c:v>
                </c:pt>
                <c:pt idx="3">
                  <c:v>43986</c:v>
                </c:pt>
                <c:pt idx="4">
                  <c:v>43987</c:v>
                </c:pt>
                <c:pt idx="5">
                  <c:v>43988</c:v>
                </c:pt>
                <c:pt idx="6">
                  <c:v>43989</c:v>
                </c:pt>
                <c:pt idx="7">
                  <c:v>43990</c:v>
                </c:pt>
                <c:pt idx="8">
                  <c:v>43991</c:v>
                </c:pt>
                <c:pt idx="9">
                  <c:v>43992</c:v>
                </c:pt>
                <c:pt idx="10">
                  <c:v>43993</c:v>
                </c:pt>
                <c:pt idx="11">
                  <c:v>43994</c:v>
                </c:pt>
                <c:pt idx="12">
                  <c:v>43995</c:v>
                </c:pt>
                <c:pt idx="13">
                  <c:v>43996</c:v>
                </c:pt>
                <c:pt idx="14">
                  <c:v>43997</c:v>
                </c:pt>
                <c:pt idx="15">
                  <c:v>43998</c:v>
                </c:pt>
                <c:pt idx="16">
                  <c:v>43999</c:v>
                </c:pt>
                <c:pt idx="17">
                  <c:v>44000</c:v>
                </c:pt>
                <c:pt idx="18">
                  <c:v>44001</c:v>
                </c:pt>
                <c:pt idx="19">
                  <c:v>44002</c:v>
                </c:pt>
                <c:pt idx="20">
                  <c:v>44003</c:v>
                </c:pt>
                <c:pt idx="21">
                  <c:v>44004</c:v>
                </c:pt>
                <c:pt idx="22">
                  <c:v>44005</c:v>
                </c:pt>
                <c:pt idx="23">
                  <c:v>44006</c:v>
                </c:pt>
                <c:pt idx="24">
                  <c:v>44007</c:v>
                </c:pt>
                <c:pt idx="25">
                  <c:v>44008</c:v>
                </c:pt>
                <c:pt idx="26">
                  <c:v>44009</c:v>
                </c:pt>
                <c:pt idx="27">
                  <c:v>44010</c:v>
                </c:pt>
                <c:pt idx="28">
                  <c:v>44011</c:v>
                </c:pt>
                <c:pt idx="29">
                  <c:v>44012</c:v>
                </c:pt>
                <c:pt idx="30">
                  <c:v>44013</c:v>
                </c:pt>
                <c:pt idx="31">
                  <c:v>44014</c:v>
                </c:pt>
                <c:pt idx="32">
                  <c:v>44015</c:v>
                </c:pt>
                <c:pt idx="33">
                  <c:v>44016</c:v>
                </c:pt>
                <c:pt idx="34">
                  <c:v>44017</c:v>
                </c:pt>
                <c:pt idx="35">
                  <c:v>44018</c:v>
                </c:pt>
                <c:pt idx="36">
                  <c:v>44019</c:v>
                </c:pt>
                <c:pt idx="37">
                  <c:v>44020</c:v>
                </c:pt>
                <c:pt idx="38">
                  <c:v>44021</c:v>
                </c:pt>
                <c:pt idx="39">
                  <c:v>44022</c:v>
                </c:pt>
                <c:pt idx="40">
                  <c:v>44023</c:v>
                </c:pt>
                <c:pt idx="41">
                  <c:v>44024</c:v>
                </c:pt>
                <c:pt idx="42">
                  <c:v>44025</c:v>
                </c:pt>
                <c:pt idx="43">
                  <c:v>44026</c:v>
                </c:pt>
                <c:pt idx="44">
                  <c:v>44027</c:v>
                </c:pt>
                <c:pt idx="45">
                  <c:v>44028</c:v>
                </c:pt>
                <c:pt idx="46">
                  <c:v>44029</c:v>
                </c:pt>
                <c:pt idx="47">
                  <c:v>44030</c:v>
                </c:pt>
                <c:pt idx="48">
                  <c:v>44031</c:v>
                </c:pt>
                <c:pt idx="49">
                  <c:v>44032</c:v>
                </c:pt>
                <c:pt idx="50">
                  <c:v>44033</c:v>
                </c:pt>
                <c:pt idx="51">
                  <c:v>44034</c:v>
                </c:pt>
                <c:pt idx="52">
                  <c:v>44035</c:v>
                </c:pt>
                <c:pt idx="53">
                  <c:v>44036</c:v>
                </c:pt>
                <c:pt idx="54">
                  <c:v>44037</c:v>
                </c:pt>
                <c:pt idx="55">
                  <c:v>44038</c:v>
                </c:pt>
                <c:pt idx="56">
                  <c:v>44039</c:v>
                </c:pt>
                <c:pt idx="57">
                  <c:v>44040</c:v>
                </c:pt>
                <c:pt idx="58">
                  <c:v>44041</c:v>
                </c:pt>
                <c:pt idx="59">
                  <c:v>44042</c:v>
                </c:pt>
                <c:pt idx="60">
                  <c:v>44043</c:v>
                </c:pt>
                <c:pt idx="61">
                  <c:v>44044</c:v>
                </c:pt>
                <c:pt idx="62">
                  <c:v>44045</c:v>
                </c:pt>
                <c:pt idx="63">
                  <c:v>44046</c:v>
                </c:pt>
                <c:pt idx="64">
                  <c:v>44047</c:v>
                </c:pt>
                <c:pt idx="65">
                  <c:v>44048</c:v>
                </c:pt>
                <c:pt idx="66">
                  <c:v>44049</c:v>
                </c:pt>
                <c:pt idx="67">
                  <c:v>44050</c:v>
                </c:pt>
                <c:pt idx="68">
                  <c:v>44051</c:v>
                </c:pt>
                <c:pt idx="69">
                  <c:v>44052</c:v>
                </c:pt>
                <c:pt idx="70">
                  <c:v>44053</c:v>
                </c:pt>
                <c:pt idx="71">
                  <c:v>44054</c:v>
                </c:pt>
                <c:pt idx="72">
                  <c:v>44055</c:v>
                </c:pt>
                <c:pt idx="73">
                  <c:v>44056</c:v>
                </c:pt>
                <c:pt idx="74">
                  <c:v>44057</c:v>
                </c:pt>
                <c:pt idx="75">
                  <c:v>44058</c:v>
                </c:pt>
                <c:pt idx="76">
                  <c:v>44059</c:v>
                </c:pt>
                <c:pt idx="77">
                  <c:v>44060</c:v>
                </c:pt>
                <c:pt idx="78">
                  <c:v>44061</c:v>
                </c:pt>
                <c:pt idx="79">
                  <c:v>44062</c:v>
                </c:pt>
                <c:pt idx="80">
                  <c:v>44063</c:v>
                </c:pt>
                <c:pt idx="81">
                  <c:v>44064</c:v>
                </c:pt>
                <c:pt idx="82">
                  <c:v>44065</c:v>
                </c:pt>
                <c:pt idx="83">
                  <c:v>44066</c:v>
                </c:pt>
                <c:pt idx="84">
                  <c:v>44067</c:v>
                </c:pt>
                <c:pt idx="85">
                  <c:v>44068</c:v>
                </c:pt>
                <c:pt idx="86">
                  <c:v>44069</c:v>
                </c:pt>
                <c:pt idx="87">
                  <c:v>44070</c:v>
                </c:pt>
                <c:pt idx="88">
                  <c:v>44071</c:v>
                </c:pt>
                <c:pt idx="89">
                  <c:v>44072</c:v>
                </c:pt>
                <c:pt idx="90">
                  <c:v>44073</c:v>
                </c:pt>
                <c:pt idx="91">
                  <c:v>44074</c:v>
                </c:pt>
                <c:pt idx="92">
                  <c:v>44075</c:v>
                </c:pt>
                <c:pt idx="93">
                  <c:v>44076</c:v>
                </c:pt>
                <c:pt idx="94">
                  <c:v>44077</c:v>
                </c:pt>
                <c:pt idx="95">
                  <c:v>44078</c:v>
                </c:pt>
                <c:pt idx="96">
                  <c:v>44079</c:v>
                </c:pt>
                <c:pt idx="97">
                  <c:v>44080</c:v>
                </c:pt>
                <c:pt idx="98">
                  <c:v>44081</c:v>
                </c:pt>
                <c:pt idx="99">
                  <c:v>44082</c:v>
                </c:pt>
                <c:pt idx="100">
                  <c:v>44083</c:v>
                </c:pt>
                <c:pt idx="101">
                  <c:v>44084</c:v>
                </c:pt>
                <c:pt idx="102">
                  <c:v>44085</c:v>
                </c:pt>
                <c:pt idx="103">
                  <c:v>44086</c:v>
                </c:pt>
                <c:pt idx="104">
                  <c:v>44087</c:v>
                </c:pt>
                <c:pt idx="105">
                  <c:v>44088</c:v>
                </c:pt>
                <c:pt idx="106">
                  <c:v>44089</c:v>
                </c:pt>
                <c:pt idx="107">
                  <c:v>44090</c:v>
                </c:pt>
                <c:pt idx="108">
                  <c:v>44091</c:v>
                </c:pt>
                <c:pt idx="109">
                  <c:v>44092</c:v>
                </c:pt>
                <c:pt idx="110">
                  <c:v>44093</c:v>
                </c:pt>
                <c:pt idx="111">
                  <c:v>44094</c:v>
                </c:pt>
                <c:pt idx="112">
                  <c:v>44095</c:v>
                </c:pt>
                <c:pt idx="113">
                  <c:v>44096</c:v>
                </c:pt>
                <c:pt idx="114">
                  <c:v>44097</c:v>
                </c:pt>
                <c:pt idx="115">
                  <c:v>44098</c:v>
                </c:pt>
                <c:pt idx="116">
                  <c:v>44099</c:v>
                </c:pt>
                <c:pt idx="117">
                  <c:v>44100</c:v>
                </c:pt>
                <c:pt idx="118">
                  <c:v>44101</c:v>
                </c:pt>
                <c:pt idx="119">
                  <c:v>44102</c:v>
                </c:pt>
                <c:pt idx="120">
                  <c:v>44103</c:v>
                </c:pt>
                <c:pt idx="121">
                  <c:v>44104</c:v>
                </c:pt>
                <c:pt idx="122">
                  <c:v>44105</c:v>
                </c:pt>
              </c:numCache>
            </c:numRef>
          </c:cat>
          <c:val>
            <c:numRef>
              <c:f>List1!$B$3:$DT$3</c:f>
              <c:numCache>
                <c:formatCode>General</c:formatCode>
                <c:ptCount val="123"/>
                <c:pt idx="0">
                  <c:v>474</c:v>
                </c:pt>
                <c:pt idx="1">
                  <c:v>438</c:v>
                </c:pt>
                <c:pt idx="2">
                  <c:v>389</c:v>
                </c:pt>
                <c:pt idx="3">
                  <c:v>362</c:v>
                </c:pt>
                <c:pt idx="4">
                  <c:v>298</c:v>
                </c:pt>
                <c:pt idx="5">
                  <c:v>298</c:v>
                </c:pt>
                <c:pt idx="6">
                  <c:v>298</c:v>
                </c:pt>
                <c:pt idx="7">
                  <c:v>282</c:v>
                </c:pt>
                <c:pt idx="8">
                  <c:v>254</c:v>
                </c:pt>
                <c:pt idx="9">
                  <c:v>232</c:v>
                </c:pt>
                <c:pt idx="10">
                  <c:v>183</c:v>
                </c:pt>
                <c:pt idx="11">
                  <c:v>158</c:v>
                </c:pt>
                <c:pt idx="12">
                  <c:v>152</c:v>
                </c:pt>
                <c:pt idx="13">
                  <c:v>168</c:v>
                </c:pt>
                <c:pt idx="14">
                  <c:v>140</c:v>
                </c:pt>
                <c:pt idx="15">
                  <c:v>120</c:v>
                </c:pt>
                <c:pt idx="16">
                  <c:v>119</c:v>
                </c:pt>
                <c:pt idx="17">
                  <c:v>110</c:v>
                </c:pt>
                <c:pt idx="18">
                  <c:v>86</c:v>
                </c:pt>
                <c:pt idx="19">
                  <c:v>83</c:v>
                </c:pt>
                <c:pt idx="20">
                  <c:v>88</c:v>
                </c:pt>
                <c:pt idx="21">
                  <c:v>85</c:v>
                </c:pt>
                <c:pt idx="22">
                  <c:v>81</c:v>
                </c:pt>
                <c:pt idx="23">
                  <c:v>79</c:v>
                </c:pt>
                <c:pt idx="24">
                  <c:v>66</c:v>
                </c:pt>
                <c:pt idx="25">
                  <c:v>55</c:v>
                </c:pt>
                <c:pt idx="26">
                  <c:v>56</c:v>
                </c:pt>
                <c:pt idx="27">
                  <c:v>62</c:v>
                </c:pt>
                <c:pt idx="28">
                  <c:v>57</c:v>
                </c:pt>
                <c:pt idx="29">
                  <c:v>58</c:v>
                </c:pt>
                <c:pt idx="30">
                  <c:v>49</c:v>
                </c:pt>
                <c:pt idx="31">
                  <c:v>39</c:v>
                </c:pt>
                <c:pt idx="32">
                  <c:v>28</c:v>
                </c:pt>
                <c:pt idx="33">
                  <c:v>31</c:v>
                </c:pt>
                <c:pt idx="34">
                  <c:v>33</c:v>
                </c:pt>
                <c:pt idx="35">
                  <c:v>32</c:v>
                </c:pt>
                <c:pt idx="36">
                  <c:v>42</c:v>
                </c:pt>
                <c:pt idx="37">
                  <c:v>39</c:v>
                </c:pt>
                <c:pt idx="38">
                  <c:v>35</c:v>
                </c:pt>
                <c:pt idx="39">
                  <c:v>25</c:v>
                </c:pt>
                <c:pt idx="40">
                  <c:v>25</c:v>
                </c:pt>
                <c:pt idx="41">
                  <c:v>34</c:v>
                </c:pt>
                <c:pt idx="42">
                  <c:v>32</c:v>
                </c:pt>
                <c:pt idx="43">
                  <c:v>29</c:v>
                </c:pt>
                <c:pt idx="44">
                  <c:v>30</c:v>
                </c:pt>
                <c:pt idx="45">
                  <c:v>32</c:v>
                </c:pt>
                <c:pt idx="46">
                  <c:v>30</c:v>
                </c:pt>
                <c:pt idx="47">
                  <c:v>32</c:v>
                </c:pt>
                <c:pt idx="48">
                  <c:v>44</c:v>
                </c:pt>
                <c:pt idx="49">
                  <c:v>41</c:v>
                </c:pt>
                <c:pt idx="50">
                  <c:v>41</c:v>
                </c:pt>
                <c:pt idx="51">
                  <c:v>41</c:v>
                </c:pt>
                <c:pt idx="52">
                  <c:v>40</c:v>
                </c:pt>
                <c:pt idx="53">
                  <c:v>38</c:v>
                </c:pt>
                <c:pt idx="54">
                  <c:v>45</c:v>
                </c:pt>
                <c:pt idx="55">
                  <c:v>57</c:v>
                </c:pt>
                <c:pt idx="56">
                  <c:v>52</c:v>
                </c:pt>
                <c:pt idx="57">
                  <c:v>52</c:v>
                </c:pt>
                <c:pt idx="58">
                  <c:v>58</c:v>
                </c:pt>
                <c:pt idx="59">
                  <c:v>58</c:v>
                </c:pt>
                <c:pt idx="60">
                  <c:v>54</c:v>
                </c:pt>
                <c:pt idx="61">
                  <c:v>48</c:v>
                </c:pt>
                <c:pt idx="62">
                  <c:v>57</c:v>
                </c:pt>
                <c:pt idx="63">
                  <c:v>51</c:v>
                </c:pt>
                <c:pt idx="64">
                  <c:v>55</c:v>
                </c:pt>
                <c:pt idx="65">
                  <c:v>55</c:v>
                </c:pt>
                <c:pt idx="66">
                  <c:v>56</c:v>
                </c:pt>
                <c:pt idx="67">
                  <c:v>56</c:v>
                </c:pt>
                <c:pt idx="68">
                  <c:v>55</c:v>
                </c:pt>
                <c:pt idx="69">
                  <c:v>64</c:v>
                </c:pt>
                <c:pt idx="70">
                  <c:v>58</c:v>
                </c:pt>
                <c:pt idx="71">
                  <c:v>61</c:v>
                </c:pt>
                <c:pt idx="72">
                  <c:v>61</c:v>
                </c:pt>
                <c:pt idx="73">
                  <c:v>54</c:v>
                </c:pt>
                <c:pt idx="74">
                  <c:v>57</c:v>
                </c:pt>
                <c:pt idx="75">
                  <c:v>58</c:v>
                </c:pt>
                <c:pt idx="76">
                  <c:v>69</c:v>
                </c:pt>
                <c:pt idx="77">
                  <c:v>69</c:v>
                </c:pt>
                <c:pt idx="78">
                  <c:v>72</c:v>
                </c:pt>
                <c:pt idx="79">
                  <c:v>69</c:v>
                </c:pt>
                <c:pt idx="80">
                  <c:v>71</c:v>
                </c:pt>
                <c:pt idx="81">
                  <c:v>60</c:v>
                </c:pt>
                <c:pt idx="82">
                  <c:v>65</c:v>
                </c:pt>
                <c:pt idx="83">
                  <c:v>69</c:v>
                </c:pt>
                <c:pt idx="84">
                  <c:v>68</c:v>
                </c:pt>
                <c:pt idx="85">
                  <c:v>70</c:v>
                </c:pt>
                <c:pt idx="86">
                  <c:v>68</c:v>
                </c:pt>
                <c:pt idx="87">
                  <c:v>61</c:v>
                </c:pt>
                <c:pt idx="88">
                  <c:v>55</c:v>
                </c:pt>
                <c:pt idx="89">
                  <c:v>53</c:v>
                </c:pt>
                <c:pt idx="90">
                  <c:v>59</c:v>
                </c:pt>
                <c:pt idx="91">
                  <c:v>54</c:v>
                </c:pt>
                <c:pt idx="92">
                  <c:v>61</c:v>
                </c:pt>
                <c:pt idx="93">
                  <c:v>63</c:v>
                </c:pt>
                <c:pt idx="94">
                  <c:v>63</c:v>
                </c:pt>
                <c:pt idx="95">
                  <c:v>60</c:v>
                </c:pt>
                <c:pt idx="96">
                  <c:v>67</c:v>
                </c:pt>
                <c:pt idx="97">
                  <c:v>91</c:v>
                </c:pt>
                <c:pt idx="98">
                  <c:v>96</c:v>
                </c:pt>
                <c:pt idx="99">
                  <c:v>101</c:v>
                </c:pt>
                <c:pt idx="100">
                  <c:v>112</c:v>
                </c:pt>
                <c:pt idx="101">
                  <c:v>116</c:v>
                </c:pt>
                <c:pt idx="102">
                  <c:v>115</c:v>
                </c:pt>
                <c:pt idx="103">
                  <c:v>128</c:v>
                </c:pt>
                <c:pt idx="104">
                  <c:v>157</c:v>
                </c:pt>
                <c:pt idx="105">
                  <c:v>159</c:v>
                </c:pt>
                <c:pt idx="106">
                  <c:v>164</c:v>
                </c:pt>
                <c:pt idx="107">
                  <c:v>159</c:v>
                </c:pt>
                <c:pt idx="108">
                  <c:v>169</c:v>
                </c:pt>
                <c:pt idx="109">
                  <c:v>146</c:v>
                </c:pt>
                <c:pt idx="110">
                  <c:v>141</c:v>
                </c:pt>
              </c:numCache>
            </c:numRef>
          </c:val>
          <c:smooth val="0"/>
          <c:extLst>
            <c:ext xmlns:c16="http://schemas.microsoft.com/office/drawing/2014/chart" uri="{C3380CC4-5D6E-409C-BE32-E72D297353CC}">
              <c16:uniqueId val="{00000001-64A3-4CB3-9339-304CB1D10FBD}"/>
            </c:ext>
          </c:extLst>
        </c:ser>
        <c:dLbls>
          <c:showLegendKey val="0"/>
          <c:showVal val="0"/>
          <c:showCatName val="0"/>
          <c:showSerName val="0"/>
          <c:showPercent val="0"/>
          <c:showBubbleSize val="0"/>
        </c:dLbls>
        <c:smooth val="0"/>
        <c:axId val="488445264"/>
        <c:axId val="494149648"/>
      </c:lineChart>
      <c:dateAx>
        <c:axId val="488445264"/>
        <c:scaling>
          <c:orientation val="minMax"/>
        </c:scaling>
        <c:delete val="0"/>
        <c:axPos val="b"/>
        <c:numFmt formatCode="d/m;@"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Offset val="100"/>
        <c:baseTimeUnit val="days"/>
        <c:majorUnit val="3"/>
        <c:majorTimeUnit val="days"/>
      </c:dateAx>
      <c:valAx>
        <c:axId val="494149648"/>
        <c:scaling>
          <c:orientation val="minMax"/>
          <c:max val="12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50"/>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21.09.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884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562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9335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3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27.png"/><Relationship Id="rId4" Type="http://schemas.openxmlformats.org/officeDocument/2006/relationships/image" Target="../media/image2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29.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emf"/><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31.png"/><Relationship Id="rId4" Type="http://schemas.openxmlformats.org/officeDocument/2006/relationships/image" Target="../media/image20.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34.png"/><Relationship Id="rId5" Type="http://schemas.openxmlformats.org/officeDocument/2006/relationships/image" Target="../media/image12.svg"/><Relationship Id="rId4" Type="http://schemas.openxmlformats.org/officeDocument/2006/relationships/image" Target="../media/image3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34.png"/><Relationship Id="rId5" Type="http://schemas.openxmlformats.org/officeDocument/2006/relationships/image" Target="../media/image12.svg"/><Relationship Id="rId4" Type="http://schemas.openxmlformats.org/officeDocument/2006/relationships/image" Target="../media/image3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34.png"/><Relationship Id="rId5" Type="http://schemas.openxmlformats.org/officeDocument/2006/relationships/image" Target="../media/image12.svg"/><Relationship Id="rId4" Type="http://schemas.openxmlformats.org/officeDocument/2006/relationships/image" Target="../media/image3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34.png"/><Relationship Id="rId5" Type="http://schemas.openxmlformats.org/officeDocument/2006/relationships/image" Target="../media/image12.svg"/><Relationship Id="rId4" Type="http://schemas.openxmlformats.org/officeDocument/2006/relationships/image" Target="../media/image3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31.png"/><Relationship Id="rId4" Type="http://schemas.openxmlformats.org/officeDocument/2006/relationships/image" Target="../media/image20.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 Id="rId6" Type="http://schemas.openxmlformats.org/officeDocument/2006/relationships/image" Target="../media/image7.svg"/><Relationship Id="rId5" Type="http://schemas.openxmlformats.org/officeDocument/2006/relationships/image" Target="../media/image10.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621409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10" name="Zástupný symbol pro datum 3"/>
          <p:cNvSpPr>
            <a:spLocks noGrp="1"/>
          </p:cNvSpPr>
          <p:nvPr>
            <p:ph type="dt" sz="half" idx="2"/>
          </p:nvPr>
        </p:nvSpPr>
        <p:spPr>
          <a:xfrm>
            <a:off x="482985" y="6070628"/>
            <a:ext cx="1200000" cy="203079"/>
          </a:xfrm>
          <a:prstGeom prst="rect">
            <a:avLst/>
          </a:prstGeom>
        </p:spPr>
        <p:txBody>
          <a:bodyPr anchor="ctr"/>
          <a:lstStyle>
            <a:lvl1pPr>
              <a:defRPr sz="1050"/>
            </a:lvl1pPr>
          </a:lstStyle>
          <a:p>
            <a:fld id="{E4EC567F-E7DA-47BB-AEB1-9930A46F27B5}" type="datetimeFigureOut">
              <a:rPr lang="cs-CZ" smtClean="0"/>
              <a:pPr/>
              <a:t>21.09.2021</a:t>
            </a:fld>
            <a:endParaRPr lang="cs-CZ" dirty="0"/>
          </a:p>
        </p:txBody>
      </p:sp>
      <p:sp>
        <p:nvSpPr>
          <p:cNvPr id="11"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7"/>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6"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Tree>
    <p:extLst>
      <p:ext uri="{BB962C8B-B14F-4D97-AF65-F5344CB8AC3E}">
        <p14:creationId xmlns:p14="http://schemas.microsoft.com/office/powerpoint/2010/main" val="709570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039226"/>
            <a:ext cx="11487705" cy="5587305"/>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9" name="Obdélník 18">
            <a:extLst>
              <a:ext uri="{FF2B5EF4-FFF2-40B4-BE49-F238E27FC236}">
                <a16:creationId xmlns:a16="http://schemas.microsoft.com/office/drawing/2014/main" id="{11FBEFA6-3CC9-4A8B-98AB-811AE091489A}"/>
              </a:ext>
            </a:extLst>
          </p:cNvPr>
          <p:cNvSpPr/>
          <p:nvPr userDrawn="1"/>
        </p:nvSpPr>
        <p:spPr>
          <a:xfrm>
            <a:off x="1" y="1"/>
            <a:ext cx="12192000" cy="79066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20" name="Nadpis 1">
            <a:extLst>
              <a:ext uri="{FF2B5EF4-FFF2-40B4-BE49-F238E27FC236}">
                <a16:creationId xmlns:a16="http://schemas.microsoft.com/office/drawing/2014/main" id="{C2747F8C-F296-41AB-B6E6-650FFEA01117}"/>
              </a:ext>
            </a:extLst>
          </p:cNvPr>
          <p:cNvSpPr>
            <a:spLocks noGrp="1"/>
          </p:cNvSpPr>
          <p:nvPr>
            <p:ph type="title" hasCustomPrompt="1"/>
          </p:nvPr>
        </p:nvSpPr>
        <p:spPr>
          <a:xfrm>
            <a:off x="381740" y="1"/>
            <a:ext cx="5396696" cy="790667"/>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9928806D-A537-4323-B4ED-4983696D2AF8}"/>
              </a:ext>
            </a:extLst>
          </p:cNvPr>
          <p:cNvGrpSpPr/>
          <p:nvPr userDrawn="1"/>
        </p:nvGrpSpPr>
        <p:grpSpPr>
          <a:xfrm>
            <a:off x="5972087" y="107328"/>
            <a:ext cx="6026262" cy="737003"/>
            <a:chOff x="5972087" y="329946"/>
            <a:chExt cx="6026262" cy="737003"/>
          </a:xfrm>
        </p:grpSpPr>
        <p:grpSp>
          <p:nvGrpSpPr>
            <p:cNvPr id="22" name="Skupina 21">
              <a:extLst>
                <a:ext uri="{FF2B5EF4-FFF2-40B4-BE49-F238E27FC236}">
                  <a16:creationId xmlns:a16="http://schemas.microsoft.com/office/drawing/2014/main" id="{FB2B0A03-1219-4FC5-81C7-A43DCB123A0C}"/>
                </a:ext>
              </a:extLst>
            </p:cNvPr>
            <p:cNvGrpSpPr/>
            <p:nvPr userDrawn="1"/>
          </p:nvGrpSpPr>
          <p:grpSpPr>
            <a:xfrm>
              <a:off x="8116661" y="349032"/>
              <a:ext cx="3881688" cy="450808"/>
              <a:chOff x="8214317" y="349032"/>
              <a:chExt cx="3881688" cy="450808"/>
            </a:xfrm>
          </p:grpSpPr>
          <p:pic>
            <p:nvPicPr>
              <p:cNvPr id="24" name="Grafický objekt 23">
                <a:extLst>
                  <a:ext uri="{FF2B5EF4-FFF2-40B4-BE49-F238E27FC236}">
                    <a16:creationId xmlns:a16="http://schemas.microsoft.com/office/drawing/2014/main" id="{2E921148-1008-412D-AB36-245237C3D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88933"/>
                <a:ext cx="2963998" cy="252000"/>
              </a:xfrm>
              <a:prstGeom prst="rect">
                <a:avLst/>
              </a:prstGeom>
            </p:spPr>
          </p:pic>
          <p:pic>
            <p:nvPicPr>
              <p:cNvPr id="28" name="Obrázek 27" descr="Obsah obrázku kreslení&#10;&#10;Popis byl vytvořen automaticky">
                <a:extLst>
                  <a:ext uri="{FF2B5EF4-FFF2-40B4-BE49-F238E27FC236}">
                    <a16:creationId xmlns:a16="http://schemas.microsoft.com/office/drawing/2014/main" id="{480755B3-A38B-4215-974C-50EA6F664943}"/>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49032"/>
                <a:ext cx="665930" cy="450808"/>
              </a:xfrm>
              <a:prstGeom prst="rect">
                <a:avLst/>
              </a:prstGeom>
            </p:spPr>
          </p:pic>
        </p:grpSp>
        <p:pic>
          <p:nvPicPr>
            <p:cNvPr id="23" name="Grafický objekt 22">
              <a:extLst>
                <a:ext uri="{FF2B5EF4-FFF2-40B4-BE49-F238E27FC236}">
                  <a16:creationId xmlns:a16="http://schemas.microsoft.com/office/drawing/2014/main" id="{1A14BE4F-72B2-49A1-B4A4-7983F7AE5745}"/>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2987209935"/>
      </p:ext>
    </p:extLst>
  </p:cSld>
  <p:clrMapOvr>
    <a:masterClrMapping/>
  </p:clrMapOvr>
  <p:extLst>
    <p:ext uri="{DCECCB84-F9BA-43D5-87BE-67443E8EF086}">
      <p15:sldGuideLst xmlns:p15="http://schemas.microsoft.com/office/powerpoint/2012/main">
        <p15:guide id="1" orient="horz" pos="164">
          <p15:clr>
            <a:srgbClr val="FBAE40"/>
          </p15:clr>
        </p15:guide>
        <p15:guide id="2" pos="75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11" name="Obdélník 10">
            <a:extLst>
              <a:ext uri="{FF2B5EF4-FFF2-40B4-BE49-F238E27FC236}">
                <a16:creationId xmlns:a16="http://schemas.microsoft.com/office/drawing/2014/main" id="{DC58920C-B9EC-4A94-B9EB-451592F3EED9}"/>
              </a:ext>
            </a:extLst>
          </p:cNvPr>
          <p:cNvSpPr/>
          <p:nvPr userDrawn="1"/>
        </p:nvSpPr>
        <p:spPr>
          <a:xfrm>
            <a:off x="1" y="1"/>
            <a:ext cx="12192000" cy="79066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2" name="Nadpis 1">
            <a:extLst>
              <a:ext uri="{FF2B5EF4-FFF2-40B4-BE49-F238E27FC236}">
                <a16:creationId xmlns:a16="http://schemas.microsoft.com/office/drawing/2014/main" id="{A3C58891-14E6-4818-B969-C72F93F08798}"/>
              </a:ext>
            </a:extLst>
          </p:cNvPr>
          <p:cNvSpPr>
            <a:spLocks noGrp="1"/>
          </p:cNvSpPr>
          <p:nvPr>
            <p:ph type="title" hasCustomPrompt="1"/>
          </p:nvPr>
        </p:nvSpPr>
        <p:spPr>
          <a:xfrm>
            <a:off x="381740" y="1"/>
            <a:ext cx="5396696" cy="790667"/>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3" name="Skupina 12">
            <a:extLst>
              <a:ext uri="{FF2B5EF4-FFF2-40B4-BE49-F238E27FC236}">
                <a16:creationId xmlns:a16="http://schemas.microsoft.com/office/drawing/2014/main" id="{4B49FBB4-BF51-45C2-86CA-B4502DA62936}"/>
              </a:ext>
            </a:extLst>
          </p:cNvPr>
          <p:cNvGrpSpPr/>
          <p:nvPr userDrawn="1"/>
        </p:nvGrpSpPr>
        <p:grpSpPr>
          <a:xfrm>
            <a:off x="5972087" y="107328"/>
            <a:ext cx="6026262" cy="737003"/>
            <a:chOff x="5972087" y="329946"/>
            <a:chExt cx="6026262" cy="737003"/>
          </a:xfrm>
        </p:grpSpPr>
        <p:grpSp>
          <p:nvGrpSpPr>
            <p:cNvPr id="14" name="Skupina 13">
              <a:extLst>
                <a:ext uri="{FF2B5EF4-FFF2-40B4-BE49-F238E27FC236}">
                  <a16:creationId xmlns:a16="http://schemas.microsoft.com/office/drawing/2014/main" id="{1533BE81-CFEE-48A9-AF03-143EC513CB79}"/>
                </a:ext>
              </a:extLst>
            </p:cNvPr>
            <p:cNvGrpSpPr/>
            <p:nvPr userDrawn="1"/>
          </p:nvGrpSpPr>
          <p:grpSpPr>
            <a:xfrm>
              <a:off x="8116661" y="349032"/>
              <a:ext cx="3881688" cy="450808"/>
              <a:chOff x="8214317" y="349032"/>
              <a:chExt cx="3881688" cy="450808"/>
            </a:xfrm>
          </p:grpSpPr>
          <p:pic>
            <p:nvPicPr>
              <p:cNvPr id="17" name="Grafický objekt 16">
                <a:extLst>
                  <a:ext uri="{FF2B5EF4-FFF2-40B4-BE49-F238E27FC236}">
                    <a16:creationId xmlns:a16="http://schemas.microsoft.com/office/drawing/2014/main" id="{2BA1D09A-64DD-4910-BF60-CC7075472A8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88933"/>
                <a:ext cx="2963998" cy="252000"/>
              </a:xfrm>
              <a:prstGeom prst="rect">
                <a:avLst/>
              </a:prstGeom>
            </p:spPr>
          </p:pic>
          <p:pic>
            <p:nvPicPr>
              <p:cNvPr id="18" name="Obrázek 17" descr="Obsah obrázku kreslení&#10;&#10;Popis byl vytvořen automaticky">
                <a:extLst>
                  <a:ext uri="{FF2B5EF4-FFF2-40B4-BE49-F238E27FC236}">
                    <a16:creationId xmlns:a16="http://schemas.microsoft.com/office/drawing/2014/main" id="{3A04F306-61D6-499B-9F34-24714C7AFEAD}"/>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49032"/>
                <a:ext cx="665930" cy="450808"/>
              </a:xfrm>
              <a:prstGeom prst="rect">
                <a:avLst/>
              </a:prstGeom>
            </p:spPr>
          </p:pic>
        </p:grpSp>
        <p:pic>
          <p:nvPicPr>
            <p:cNvPr id="15" name="Grafický objekt 14">
              <a:extLst>
                <a:ext uri="{FF2B5EF4-FFF2-40B4-BE49-F238E27FC236}">
                  <a16:creationId xmlns:a16="http://schemas.microsoft.com/office/drawing/2014/main" id="{62747C58-6152-448D-9270-C4FE61C51FC4}"/>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3507971870"/>
      </p:ext>
    </p:extLst>
  </p:cSld>
  <p:clrMapOvr>
    <a:masterClrMapping/>
  </p:clrMapOvr>
  <p:extLst>
    <p:ext uri="{DCECCB84-F9BA-43D5-87BE-67443E8EF086}">
      <p15:sldGuideLst xmlns:p15="http://schemas.microsoft.com/office/powerpoint/2012/main">
        <p15:guide id="1" orient="horz" pos="30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ouze nadpis minimalni">
    <p:spTree>
      <p:nvGrpSpPr>
        <p:cNvPr id="1" name=""/>
        <p:cNvGrpSpPr/>
        <p:nvPr/>
      </p:nvGrpSpPr>
      <p:grpSpPr>
        <a:xfrm>
          <a:off x="0" y="0"/>
          <a:ext cx="0" cy="0"/>
          <a:chOff x="0" y="0"/>
          <a:chExt cx="0" cy="0"/>
        </a:xfrm>
      </p:grpSpPr>
      <p:sp>
        <p:nvSpPr>
          <p:cNvPr id="8" name="Obdélník 7">
            <a:extLst>
              <a:ext uri="{FF2B5EF4-FFF2-40B4-BE49-F238E27FC236}">
                <a16:creationId xmlns:a16="http://schemas.microsoft.com/office/drawing/2014/main" id="{57251005-B581-4C6B-9623-FE7C9E672C61}"/>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9" name="Nadpis 1">
            <a:extLst>
              <a:ext uri="{FF2B5EF4-FFF2-40B4-BE49-F238E27FC236}">
                <a16:creationId xmlns:a16="http://schemas.microsoft.com/office/drawing/2014/main" id="{2ABA8342-40EF-4EF8-878F-E756BF1AAB20}"/>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1" name="Skupina 10">
            <a:extLst>
              <a:ext uri="{FF2B5EF4-FFF2-40B4-BE49-F238E27FC236}">
                <a16:creationId xmlns:a16="http://schemas.microsoft.com/office/drawing/2014/main" id="{EC133C2D-E49B-4A76-8E4C-79637436790E}"/>
              </a:ext>
            </a:extLst>
          </p:cNvPr>
          <p:cNvGrpSpPr>
            <a:grpSpLocks noChangeAspect="1"/>
          </p:cNvGrpSpPr>
          <p:nvPr userDrawn="1"/>
        </p:nvGrpSpPr>
        <p:grpSpPr>
          <a:xfrm>
            <a:off x="8102342" y="93094"/>
            <a:ext cx="4017507" cy="504000"/>
            <a:chOff x="5972087" y="329946"/>
            <a:chExt cx="6026262" cy="737003"/>
          </a:xfrm>
        </p:grpSpPr>
        <p:grpSp>
          <p:nvGrpSpPr>
            <p:cNvPr id="12" name="Skupina 11">
              <a:extLst>
                <a:ext uri="{FF2B5EF4-FFF2-40B4-BE49-F238E27FC236}">
                  <a16:creationId xmlns:a16="http://schemas.microsoft.com/office/drawing/2014/main" id="{7B0E7EF1-130B-4AF3-9B9B-F57B675459BE}"/>
                </a:ext>
              </a:extLst>
            </p:cNvPr>
            <p:cNvGrpSpPr/>
            <p:nvPr userDrawn="1"/>
          </p:nvGrpSpPr>
          <p:grpSpPr>
            <a:xfrm>
              <a:off x="8116661" y="331276"/>
              <a:ext cx="3881688" cy="450808"/>
              <a:chOff x="8214317" y="331276"/>
              <a:chExt cx="3881688" cy="450808"/>
            </a:xfrm>
          </p:grpSpPr>
          <p:pic>
            <p:nvPicPr>
              <p:cNvPr id="14" name="Grafický objekt 13">
                <a:extLst>
                  <a:ext uri="{FF2B5EF4-FFF2-40B4-BE49-F238E27FC236}">
                    <a16:creationId xmlns:a16="http://schemas.microsoft.com/office/drawing/2014/main" id="{5A70A0E6-773C-4F6E-853C-28A61AEF1D8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7F95AEA6-4367-4B52-93A3-3068041EC41B}"/>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31276"/>
                <a:ext cx="665930" cy="450808"/>
              </a:xfrm>
              <a:prstGeom prst="rect">
                <a:avLst/>
              </a:prstGeom>
            </p:spPr>
          </p:pic>
        </p:grpSp>
        <p:pic>
          <p:nvPicPr>
            <p:cNvPr id="13" name="Grafický objekt 12">
              <a:extLst>
                <a:ext uri="{FF2B5EF4-FFF2-40B4-BE49-F238E27FC236}">
                  <a16:creationId xmlns:a16="http://schemas.microsoft.com/office/drawing/2014/main" id="{ABAFA576-D9BF-4267-9BD2-2B78AD34E655}"/>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19173666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7421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830459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857649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3264425943"/>
      </p:ext>
    </p:extLst>
  </p:cSld>
  <p:clrMapOvr>
    <a:masterClrMapping/>
  </p:clrMapOvr>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4241895638"/>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2767061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1512250015"/>
      </p:ext>
    </p:extLst>
  </p:cSld>
  <p:clrMapOvr>
    <a:masterClrMapping/>
  </p:clrMapOvr>
  <p:extLst>
    <p:ext uri="{DCECCB84-F9BA-43D5-87BE-67443E8EF086}">
      <p15:sldGuideLst xmlns:p15="http://schemas.microsoft.com/office/powerpoint/2012/main">
        <p15:guide id="1" orient="horz" pos="414"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8402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3675155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Arial" panose="020B0604020202020204"/>
                <a:ea typeface="+mn-ea"/>
                <a:cs typeface="+mn-cs"/>
              </a:rPr>
              <a:t>#</a:t>
            </a:r>
            <a:r>
              <a:rPr kumimoji="0" lang="cs-CZ" sz="2800" b="0" i="0" u="none" strike="noStrike" kern="1200" cap="none" spc="300" normalizeH="0" baseline="0" noProof="0" dirty="0" err="1">
                <a:ln>
                  <a:noFill/>
                </a:ln>
                <a:solidFill>
                  <a:prstClr val="white"/>
                </a:solidFill>
                <a:effectLst/>
                <a:uLnTx/>
                <a:uFillTx/>
                <a:latin typeface="Arial" panose="020B0604020202020204"/>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9837063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3022954480"/>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4070275929"/>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2584279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958779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2768265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8760243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1040480152"/>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2316969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3004375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895082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88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21.09.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67429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153027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Úvodní snímek">
    <p:bg>
      <p:bgRef idx="1001">
        <a:schemeClr val="bg1"/>
      </p:bgRef>
    </p:bg>
    <p:spTree>
      <p:nvGrpSpPr>
        <p:cNvPr id="1" name=""/>
        <p:cNvGrpSpPr/>
        <p:nvPr/>
      </p:nvGrpSpPr>
      <p:grpSpPr>
        <a:xfrm>
          <a:off x="0" y="0"/>
          <a:ext cx="0" cy="0"/>
          <a:chOff x="0" y="0"/>
          <a:chExt cx="0" cy="0"/>
        </a:xfrm>
      </p:grpSpPr>
      <p:pic>
        <p:nvPicPr>
          <p:cNvPr id="32" name="Obrázek 31">
            <a:extLst>
              <a:ext uri="{FF2B5EF4-FFF2-40B4-BE49-F238E27FC236}">
                <a16:creationId xmlns:a16="http://schemas.microsoft.com/office/drawing/2014/main" id="{195036A3-2C0E-4CFE-A711-5BBB07E7B7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7728" y="1584000"/>
            <a:ext cx="5336537" cy="3060000"/>
          </a:xfrm>
          <a:prstGeom prst="rect">
            <a:avLst/>
          </a:prstGeom>
        </p:spPr>
      </p:pic>
      <p:sp>
        <p:nvSpPr>
          <p:cNvPr id="16" name="Obdélník 15"/>
          <p:cNvSpPr/>
          <p:nvPr userDrawn="1"/>
        </p:nvSpPr>
        <p:spPr>
          <a:xfrm>
            <a:off x="-3" y="-38466"/>
            <a:ext cx="12192000" cy="6858000"/>
          </a:xfrm>
          <a:prstGeom prst="rect">
            <a:avLst/>
          </a:prstGeom>
          <a:gradFill flip="none" rotWithShape="1">
            <a:gsLst>
              <a:gs pos="49000">
                <a:schemeClr val="bg1"/>
              </a:gs>
              <a:gs pos="0">
                <a:schemeClr val="accent5">
                  <a:lumMod val="52000"/>
                  <a:lumOff val="48000"/>
                  <a:alpha val="67000"/>
                </a:schemeClr>
              </a:gs>
              <a:gs pos="100000">
                <a:schemeClr val="accent4">
                  <a:alpha val="6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dirty="0">
              <a:solidFill>
                <a:srgbClr val="274073"/>
              </a:solidFill>
            </a:endParaRPr>
          </a:p>
        </p:txBody>
      </p:sp>
      <p:sp>
        <p:nvSpPr>
          <p:cNvPr id="24" name="Obdélník 23"/>
          <p:cNvSpPr/>
          <p:nvPr userDrawn="1"/>
        </p:nvSpPr>
        <p:spPr>
          <a:xfrm>
            <a:off x="13436" y="5922000"/>
            <a:ext cx="12191997"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2" name="Nadpis 1"/>
          <p:cNvSpPr>
            <a:spLocks noGrp="1"/>
          </p:cNvSpPr>
          <p:nvPr>
            <p:ph type="ctrTitle" hasCustomPrompt="1"/>
          </p:nvPr>
        </p:nvSpPr>
        <p:spPr>
          <a:xfrm>
            <a:off x="914400" y="2720943"/>
            <a:ext cx="10363200" cy="891530"/>
          </a:xfrm>
          <a:prstGeom prst="rect">
            <a:avLst/>
          </a:prstGeom>
        </p:spPr>
        <p:txBody>
          <a:bodyPr/>
          <a:lstStyle>
            <a:lvl1pPr>
              <a:defRPr b="1">
                <a:solidFill>
                  <a:srgbClr val="DA2B46"/>
                </a:solidFill>
              </a:defRPr>
            </a:lvl1pPr>
          </a:lstStyle>
          <a:p>
            <a:r>
              <a:rPr lang="cs-CZ" dirty="0"/>
              <a:t>KLIKNUTÍM LZE UPRAVIT STYL.</a:t>
            </a:r>
          </a:p>
        </p:txBody>
      </p:sp>
      <p:sp>
        <p:nvSpPr>
          <p:cNvPr id="3" name="Podnadpis 2"/>
          <p:cNvSpPr>
            <a:spLocks noGrp="1"/>
          </p:cNvSpPr>
          <p:nvPr>
            <p:ph type="subTitle" idx="1" hasCustomPrompt="1"/>
          </p:nvPr>
        </p:nvSpPr>
        <p:spPr>
          <a:xfrm>
            <a:off x="1828800" y="4887218"/>
            <a:ext cx="8534400" cy="694928"/>
          </a:xfrm>
        </p:spPr>
        <p:txBody>
          <a:bodyPr>
            <a:normAutofit/>
          </a:bodyPr>
          <a:lstStyle>
            <a:lvl1pPr marL="0" indent="0" algn="ctr">
              <a:buNone/>
              <a:defRPr sz="2800" b="1">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dirty="0"/>
              <a:t>KLIKNUTÍM LZE UPRAVIT STYL PŘEDLOHY.</a:t>
            </a:r>
          </a:p>
        </p:txBody>
      </p:sp>
      <p:sp>
        <p:nvSpPr>
          <p:cNvPr id="9" name="Obdélník 8"/>
          <p:cNvSpPr/>
          <p:nvPr userDrawn="1"/>
        </p:nvSpPr>
        <p:spPr>
          <a:xfrm>
            <a:off x="-3" y="689910"/>
            <a:ext cx="12192000" cy="108012"/>
          </a:xfrm>
          <a:prstGeom prst="rect">
            <a:avLst/>
          </a:prstGeom>
          <a:solidFill>
            <a:srgbClr val="724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13" name="Obdélník 12"/>
          <p:cNvSpPr/>
          <p:nvPr userDrawn="1"/>
        </p:nvSpPr>
        <p:spPr>
          <a:xfrm>
            <a:off x="-3" y="0"/>
            <a:ext cx="12192000" cy="6899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25" name="Obdélník 24"/>
          <p:cNvSpPr/>
          <p:nvPr userDrawn="1"/>
        </p:nvSpPr>
        <p:spPr>
          <a:xfrm>
            <a:off x="0" y="5879932"/>
            <a:ext cx="12192000" cy="45719"/>
          </a:xfrm>
          <a:prstGeom prst="rect">
            <a:avLst/>
          </a:prstGeom>
          <a:solidFill>
            <a:srgbClr val="004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7" name="TextovéPole 16"/>
          <p:cNvSpPr txBox="1"/>
          <p:nvPr userDrawn="1"/>
        </p:nvSpPr>
        <p:spPr>
          <a:xfrm>
            <a:off x="2788357" y="151329"/>
            <a:ext cx="8489243" cy="430887"/>
          </a:xfrm>
          <a:prstGeom prst="rect">
            <a:avLst/>
          </a:prstGeom>
          <a:noFill/>
        </p:spPr>
        <p:txBody>
          <a:bodyPr wrap="square"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cs-CZ" sz="1100" dirty="0"/>
              <a:t>Národní koordinační centrum programů časného záchytu onemocnění I CZ.03.2.63/0.0/0.0/15_039/0006904</a:t>
            </a:r>
          </a:p>
          <a:p>
            <a:pPr marL="0" marR="0" indent="0" algn="r" defTabSz="914400" rtl="0" eaLnBrk="1" fontAlgn="auto" latinLnBrk="0" hangingPunct="1">
              <a:lnSpc>
                <a:spcPct val="100000"/>
              </a:lnSpc>
              <a:spcBef>
                <a:spcPts val="0"/>
              </a:spcBef>
              <a:spcAft>
                <a:spcPts val="0"/>
              </a:spcAft>
              <a:buClrTx/>
              <a:buSzTx/>
              <a:buFontTx/>
              <a:buNone/>
              <a:tabLst/>
              <a:defRPr/>
            </a:pPr>
            <a:r>
              <a:rPr lang="cs-CZ" sz="1100" kern="1200" dirty="0">
                <a:solidFill>
                  <a:schemeClr val="tx1"/>
                </a:solidFill>
                <a:latin typeface="+mn-lt"/>
                <a:ea typeface="+mn-ea"/>
                <a:cs typeface="+mn-cs"/>
              </a:rPr>
              <a:t>Datová základna realizace screeningových programů CZ.03.2.63/0.0/0.0/15_039/0007216 </a:t>
            </a:r>
          </a:p>
        </p:txBody>
      </p:sp>
      <p:grpSp>
        <p:nvGrpSpPr>
          <p:cNvPr id="21" name="Skupina 20">
            <a:extLst>
              <a:ext uri="{FF2B5EF4-FFF2-40B4-BE49-F238E27FC236}">
                <a16:creationId xmlns:a16="http://schemas.microsoft.com/office/drawing/2014/main" id="{F88470AF-D48F-470D-AEEF-9666AC0B61BB}"/>
              </a:ext>
            </a:extLst>
          </p:cNvPr>
          <p:cNvGrpSpPr/>
          <p:nvPr userDrawn="1"/>
        </p:nvGrpSpPr>
        <p:grpSpPr>
          <a:xfrm>
            <a:off x="972000" y="99405"/>
            <a:ext cx="2394526" cy="521285"/>
            <a:chOff x="-3635511" y="3808741"/>
            <a:chExt cx="2394526" cy="521285"/>
          </a:xfrm>
        </p:grpSpPr>
        <p:pic>
          <p:nvPicPr>
            <p:cNvPr id="22" name="Obrázek 21">
              <a:extLst>
                <a:ext uri="{FF2B5EF4-FFF2-40B4-BE49-F238E27FC236}">
                  <a16:creationId xmlns:a16="http://schemas.microsoft.com/office/drawing/2014/main" id="{7C156A95-99FD-463F-A7F7-8DFAEC399BE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69077"/>
            <a:stretch/>
          </p:blipFill>
          <p:spPr>
            <a:xfrm>
              <a:off x="-3635511" y="3808741"/>
              <a:ext cx="754652" cy="505853"/>
            </a:xfrm>
            <a:prstGeom prst="rect">
              <a:avLst/>
            </a:prstGeom>
          </p:spPr>
        </p:pic>
        <p:sp>
          <p:nvSpPr>
            <p:cNvPr id="23" name="TextovéPole 22">
              <a:extLst>
                <a:ext uri="{FF2B5EF4-FFF2-40B4-BE49-F238E27FC236}">
                  <a16:creationId xmlns:a16="http://schemas.microsoft.com/office/drawing/2014/main" id="{4A16176F-E232-43A6-B00C-47517659318E}"/>
                </a:ext>
              </a:extLst>
            </p:cNvPr>
            <p:cNvSpPr txBox="1"/>
            <p:nvPr userDrawn="1"/>
          </p:nvSpPr>
          <p:spPr>
            <a:xfrm>
              <a:off x="-2954432" y="3822195"/>
              <a:ext cx="1713447" cy="507831"/>
            </a:xfrm>
            <a:prstGeom prst="rect">
              <a:avLst/>
            </a:prstGeom>
            <a:noFill/>
          </p:spPr>
          <p:txBody>
            <a:bodyPr wrap="square" rtlCol="0">
              <a:spAutoFit/>
            </a:bodyPr>
            <a:lstStyle/>
            <a:p>
              <a:r>
                <a:rPr lang="cs-CZ" sz="900" i="0" dirty="0">
                  <a:solidFill>
                    <a:schemeClr val="bg2">
                      <a:lumMod val="10000"/>
                    </a:schemeClr>
                  </a:solidFill>
                </a:rPr>
                <a:t>Evropská</a:t>
              </a:r>
              <a:r>
                <a:rPr lang="cs-CZ" sz="900" i="0" baseline="0" dirty="0">
                  <a:solidFill>
                    <a:schemeClr val="bg2">
                      <a:lumMod val="10000"/>
                    </a:schemeClr>
                  </a:solidFill>
                </a:rPr>
                <a:t> unie</a:t>
              </a:r>
            </a:p>
            <a:p>
              <a:r>
                <a:rPr lang="cs-CZ" sz="900" i="0" baseline="0" dirty="0">
                  <a:solidFill>
                    <a:schemeClr val="bg2">
                      <a:lumMod val="10000"/>
                    </a:schemeClr>
                  </a:solidFill>
                </a:rPr>
                <a:t>Evropský sociální fond</a:t>
              </a:r>
            </a:p>
            <a:p>
              <a:r>
                <a:rPr lang="cs-CZ" sz="900" i="0" baseline="0" dirty="0">
                  <a:solidFill>
                    <a:schemeClr val="bg2">
                      <a:lumMod val="10000"/>
                    </a:schemeClr>
                  </a:solidFill>
                </a:rPr>
                <a:t>Operační program Zaměstnanost</a:t>
              </a:r>
              <a:endParaRPr lang="cs-CZ" sz="900" i="0" dirty="0">
                <a:solidFill>
                  <a:schemeClr val="bg2">
                    <a:lumMod val="10000"/>
                  </a:schemeClr>
                </a:solidFill>
              </a:endParaRPr>
            </a:p>
          </p:txBody>
        </p:sp>
      </p:grpSp>
      <p:sp>
        <p:nvSpPr>
          <p:cNvPr id="26" name="TextovéPole 25">
            <a:extLst>
              <a:ext uri="{FF2B5EF4-FFF2-40B4-BE49-F238E27FC236}">
                <a16:creationId xmlns:a16="http://schemas.microsoft.com/office/drawing/2014/main" id="{858CEEB2-107C-4552-B3EE-55408A9AA3DD}"/>
              </a:ext>
            </a:extLst>
          </p:cNvPr>
          <p:cNvSpPr txBox="1"/>
          <p:nvPr userDrawn="1"/>
        </p:nvSpPr>
        <p:spPr>
          <a:xfrm>
            <a:off x="1636734" y="6269165"/>
            <a:ext cx="3888432" cy="369332"/>
          </a:xfrm>
          <a:prstGeom prst="rect">
            <a:avLst/>
          </a:prstGeom>
          <a:noFill/>
        </p:spPr>
        <p:txBody>
          <a:bodyPr wrap="square" rtlCol="0">
            <a:spAutoFit/>
          </a:bodyPr>
          <a:lstStyle/>
          <a:p>
            <a:r>
              <a:rPr lang="cs-CZ" sz="900" dirty="0">
                <a:solidFill>
                  <a:schemeClr val="accent2"/>
                </a:solidFill>
              </a:rPr>
              <a:t>Ústav zdravotnických informací a statistiky České republiky</a:t>
            </a:r>
          </a:p>
          <a:p>
            <a:r>
              <a:rPr lang="cs-CZ" sz="900" i="1" dirty="0">
                <a:solidFill>
                  <a:schemeClr val="accent2"/>
                </a:solidFill>
              </a:rPr>
              <a:t>Institute </a:t>
            </a:r>
            <a:r>
              <a:rPr lang="cs-CZ" sz="900" i="1" dirty="0" err="1">
                <a:solidFill>
                  <a:schemeClr val="accent2"/>
                </a:solidFill>
              </a:rPr>
              <a:t>of</a:t>
            </a:r>
            <a:r>
              <a:rPr lang="cs-CZ" sz="900" i="1" dirty="0">
                <a:solidFill>
                  <a:schemeClr val="accent2"/>
                </a:solidFill>
              </a:rPr>
              <a:t> </a:t>
            </a:r>
            <a:r>
              <a:rPr lang="cs-CZ" sz="900" i="1" dirty="0" err="1">
                <a:solidFill>
                  <a:schemeClr val="accent2"/>
                </a:solidFill>
              </a:rPr>
              <a:t>Health</a:t>
            </a:r>
            <a:r>
              <a:rPr lang="cs-CZ" sz="900" i="1" dirty="0">
                <a:solidFill>
                  <a:schemeClr val="accent2"/>
                </a:solidFill>
              </a:rPr>
              <a:t> </a:t>
            </a:r>
            <a:r>
              <a:rPr lang="cs-CZ" sz="900" i="1" dirty="0" err="1">
                <a:solidFill>
                  <a:schemeClr val="accent2"/>
                </a:solidFill>
              </a:rPr>
              <a:t>Information</a:t>
            </a:r>
            <a:r>
              <a:rPr lang="cs-CZ" sz="900" i="1" dirty="0">
                <a:solidFill>
                  <a:schemeClr val="accent2"/>
                </a:solidFill>
              </a:rPr>
              <a:t> and </a:t>
            </a:r>
            <a:r>
              <a:rPr lang="cs-CZ" sz="900" i="1" dirty="0" err="1">
                <a:solidFill>
                  <a:schemeClr val="accent2"/>
                </a:solidFill>
              </a:rPr>
              <a:t>Statistics</a:t>
            </a:r>
            <a:r>
              <a:rPr lang="cs-CZ" sz="900" i="1" dirty="0">
                <a:solidFill>
                  <a:schemeClr val="accent2"/>
                </a:solidFill>
              </a:rPr>
              <a:t> </a:t>
            </a:r>
            <a:r>
              <a:rPr lang="cs-CZ" sz="900" i="1" dirty="0" err="1">
                <a:solidFill>
                  <a:schemeClr val="accent2"/>
                </a:solidFill>
              </a:rPr>
              <a:t>of</a:t>
            </a:r>
            <a:r>
              <a:rPr lang="cs-CZ" sz="900" i="1" dirty="0">
                <a:solidFill>
                  <a:schemeClr val="accent2"/>
                </a:solidFill>
              </a:rPr>
              <a:t> </a:t>
            </a:r>
            <a:r>
              <a:rPr lang="cs-CZ" sz="900" i="1" dirty="0" err="1">
                <a:solidFill>
                  <a:schemeClr val="accent2"/>
                </a:solidFill>
              </a:rPr>
              <a:t>the</a:t>
            </a:r>
            <a:r>
              <a:rPr lang="cs-CZ" sz="900" i="1" dirty="0">
                <a:solidFill>
                  <a:schemeClr val="accent2"/>
                </a:solidFill>
              </a:rPr>
              <a:t> Czech Republic</a:t>
            </a:r>
          </a:p>
        </p:txBody>
      </p:sp>
      <p:pic>
        <p:nvPicPr>
          <p:cNvPr id="27" name="Obrázek 26">
            <a:extLst>
              <a:ext uri="{FF2B5EF4-FFF2-40B4-BE49-F238E27FC236}">
                <a16:creationId xmlns:a16="http://schemas.microsoft.com/office/drawing/2014/main" id="{9DC5116B-C626-40A9-A244-031AB6F7805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972000" y="6195600"/>
            <a:ext cx="654994" cy="432000"/>
          </a:xfrm>
          <a:prstGeom prst="rect">
            <a:avLst/>
          </a:prstGeom>
        </p:spPr>
      </p:pic>
      <p:pic>
        <p:nvPicPr>
          <p:cNvPr id="28" name="Grafický objekt 13">
            <a:extLst>
              <a:ext uri="{FF2B5EF4-FFF2-40B4-BE49-F238E27FC236}">
                <a16:creationId xmlns:a16="http://schemas.microsoft.com/office/drawing/2014/main" id="{C250F949-DEEF-49A4-8BDC-56E499AC995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0842" y="6300157"/>
            <a:ext cx="2859158" cy="242524"/>
          </a:xfrm>
          <a:prstGeom prst="rect">
            <a:avLst/>
          </a:prstGeom>
        </p:spPr>
      </p:pic>
    </p:spTree>
    <p:extLst>
      <p:ext uri="{BB962C8B-B14F-4D97-AF65-F5344CB8AC3E}">
        <p14:creationId xmlns:p14="http://schemas.microsoft.com/office/powerpoint/2010/main" val="14775896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178">
          <p15:clr>
            <a:srgbClr val="FBAE40"/>
          </p15:clr>
        </p15:guide>
        <p15:guide id="2" pos="73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31"/>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Tree>
    <p:extLst>
      <p:ext uri="{BB962C8B-B14F-4D97-AF65-F5344CB8AC3E}">
        <p14:creationId xmlns:p14="http://schemas.microsoft.com/office/powerpoint/2010/main" val="16196756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3273006"/>
            <a:ext cx="10363200" cy="1362075"/>
          </a:xfrm>
          <a:prstGeom prst="rect">
            <a:avLst/>
          </a:prstGeom>
        </p:spPr>
        <p:txBody>
          <a:bodyPr anchor="t"/>
          <a:lstStyle>
            <a:lvl1pPr algn="l">
              <a:defRPr sz="4000" b="1" cap="all">
                <a:solidFill>
                  <a:schemeClr val="tx1"/>
                </a:solidFill>
              </a:defRPr>
            </a:lvl1pPr>
          </a:lstStyle>
          <a:p>
            <a:r>
              <a:rPr lang="cs-CZ" dirty="0"/>
              <a:t>Kliknutím lze upravit styl.</a:t>
            </a:r>
          </a:p>
        </p:txBody>
      </p:sp>
      <p:sp>
        <p:nvSpPr>
          <p:cNvPr id="3" name="Zástupný symbol pro text 2"/>
          <p:cNvSpPr>
            <a:spLocks noGrp="1"/>
          </p:cNvSpPr>
          <p:nvPr>
            <p:ph type="body" idx="1"/>
          </p:nvPr>
        </p:nvSpPr>
        <p:spPr>
          <a:xfrm>
            <a:off x="963084" y="1772819"/>
            <a:ext cx="10363200" cy="1500187"/>
          </a:xfrm>
        </p:spPr>
        <p:txBody>
          <a:bodyPr anchor="b"/>
          <a:lstStyle>
            <a:lvl1pPr marL="0" indent="0">
              <a:buNone/>
              <a:defRPr sz="2000">
                <a:solidFill>
                  <a:srgbClr val="724F77"/>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dirty="0"/>
              <a:t>Kliknutím lze upravit styly předlohy textu.</a:t>
            </a:r>
          </a:p>
        </p:txBody>
      </p:sp>
      <p:sp>
        <p:nvSpPr>
          <p:cNvPr id="7" name="Zástupný symbol pro datum 3"/>
          <p:cNvSpPr>
            <a:spLocks noGrp="1"/>
          </p:cNvSpPr>
          <p:nvPr>
            <p:ph type="dt" sz="half" idx="2"/>
          </p:nvPr>
        </p:nvSpPr>
        <p:spPr>
          <a:xfrm>
            <a:off x="482985" y="6070628"/>
            <a:ext cx="1200000" cy="203079"/>
          </a:xfrm>
          <a:prstGeom prst="rect">
            <a:avLst/>
          </a:prstGeom>
        </p:spPr>
        <p:txBody>
          <a:bodyPr anchor="ctr"/>
          <a:lstStyle>
            <a:lvl1pPr>
              <a:defRPr sz="1050"/>
            </a:lvl1pPr>
          </a:lstStyle>
          <a:p>
            <a:fld id="{E4EC567F-E7DA-47BB-AEB1-9930A46F27B5}" type="datetimeFigureOut">
              <a:rPr lang="cs-CZ" smtClean="0"/>
              <a:pPr/>
              <a:t>21.09.2021</a:t>
            </a:fld>
            <a:endParaRPr lang="cs-CZ" dirty="0"/>
          </a:p>
        </p:txBody>
      </p:sp>
      <p:sp>
        <p:nvSpPr>
          <p:cNvPr id="8"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9" name="Zástupný symbol pro číslo snímku 5"/>
          <p:cNvSpPr>
            <a:spLocks noGrp="1"/>
          </p:cNvSpPr>
          <p:nvPr>
            <p:ph type="sldNum" sz="quarter" idx="4"/>
          </p:nvPr>
        </p:nvSpPr>
        <p:spPr>
          <a:xfrm>
            <a:off x="10408541" y="6065807"/>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31661788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9.xml"/><Relationship Id="rId7" Type="http://schemas.openxmlformats.org/officeDocument/2006/relationships/image" Target="../media/image4.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theme" Target="../theme/theme2.xml"/><Relationship Id="rId10" Type="http://schemas.openxmlformats.org/officeDocument/2006/relationships/image" Target="../media/image7.svg"/><Relationship Id="rId4" Type="http://schemas.openxmlformats.org/officeDocument/2006/relationships/slideLayout" Target="../slideLayouts/slideLayout10.xml"/><Relationship Id="rId9"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8.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2.sv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7.png"/><Relationship Id="rId5" Type="http://schemas.openxmlformats.org/officeDocument/2006/relationships/slideLayout" Target="../slideLayouts/slideLayout27.xml"/><Relationship Id="rId15" Type="http://schemas.openxmlformats.org/officeDocument/2006/relationships/image" Target="../media/image20.svg"/><Relationship Id="rId10" Type="http://schemas.openxmlformats.org/officeDocument/2006/relationships/theme" Target="../theme/theme5.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21.09.2021</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80" r:id="rId5"/>
    <p:sldLayoutId id="214748380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Zástupný symbol pro text 2"/>
          <p:cNvSpPr>
            <a:spLocks noGrp="1"/>
          </p:cNvSpPr>
          <p:nvPr>
            <p:ph type="body" idx="1"/>
          </p:nvPr>
        </p:nvSpPr>
        <p:spPr>
          <a:xfrm>
            <a:off x="624000" y="764707"/>
            <a:ext cx="10944000" cy="5040559"/>
          </a:xfrm>
          <a:prstGeom prst="rect">
            <a:avLst/>
          </a:prstGeom>
        </p:spPr>
        <p:txBody>
          <a:bodyPr vert="horz" lIns="91440" tIns="45720" rIns="91440" bIns="4572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1" name="Obdélník 10">
            <a:extLst>
              <a:ext uri="{FF2B5EF4-FFF2-40B4-BE49-F238E27FC236}">
                <a16:creationId xmlns:a16="http://schemas.microsoft.com/office/drawing/2014/main" id="{A8B41E4C-7C53-49D1-A6A7-BADC85A98B77}"/>
              </a:ext>
            </a:extLst>
          </p:cNvPr>
          <p:cNvSpPr/>
          <p:nvPr userDrawn="1"/>
        </p:nvSpPr>
        <p:spPr>
          <a:xfrm>
            <a:off x="0" y="6272892"/>
            <a:ext cx="12192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grpSp>
        <p:nvGrpSpPr>
          <p:cNvPr id="12" name="Skupina 11">
            <a:extLst>
              <a:ext uri="{FF2B5EF4-FFF2-40B4-BE49-F238E27FC236}">
                <a16:creationId xmlns:a16="http://schemas.microsoft.com/office/drawing/2014/main" id="{10964C23-7502-44A3-900C-38F4C522DDF7}"/>
              </a:ext>
            </a:extLst>
          </p:cNvPr>
          <p:cNvGrpSpPr/>
          <p:nvPr userDrawn="1"/>
        </p:nvGrpSpPr>
        <p:grpSpPr>
          <a:xfrm>
            <a:off x="439358" y="6370574"/>
            <a:ext cx="2266057" cy="421394"/>
            <a:chOff x="-1238301" y="3808742"/>
            <a:chExt cx="2266057" cy="421394"/>
          </a:xfrm>
        </p:grpSpPr>
        <p:pic>
          <p:nvPicPr>
            <p:cNvPr id="13" name="Obrázek 12">
              <a:extLst>
                <a:ext uri="{FF2B5EF4-FFF2-40B4-BE49-F238E27FC236}">
                  <a16:creationId xmlns:a16="http://schemas.microsoft.com/office/drawing/2014/main" id="{CDBD5828-5EFB-4A41-A797-93B2FC7F04E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69077"/>
            <a:stretch/>
          </p:blipFill>
          <p:spPr>
            <a:xfrm>
              <a:off x="-1238301" y="3808742"/>
              <a:ext cx="612000" cy="410232"/>
            </a:xfrm>
            <a:prstGeom prst="rect">
              <a:avLst/>
            </a:prstGeom>
          </p:spPr>
        </p:pic>
        <p:sp>
          <p:nvSpPr>
            <p:cNvPr id="17" name="TextovéPole 16">
              <a:extLst>
                <a:ext uri="{FF2B5EF4-FFF2-40B4-BE49-F238E27FC236}">
                  <a16:creationId xmlns:a16="http://schemas.microsoft.com/office/drawing/2014/main" id="{772FED2F-5B03-4031-96D4-0C82449E52B0}"/>
                </a:ext>
              </a:extLst>
            </p:cNvPr>
            <p:cNvSpPr txBox="1"/>
            <p:nvPr userDrawn="1"/>
          </p:nvSpPr>
          <p:spPr>
            <a:xfrm>
              <a:off x="-685691" y="3814638"/>
              <a:ext cx="1713447" cy="415498"/>
            </a:xfrm>
            <a:prstGeom prst="rect">
              <a:avLst/>
            </a:prstGeom>
            <a:noFill/>
          </p:spPr>
          <p:txBody>
            <a:bodyPr wrap="square" rtlCol="0">
              <a:spAutoFit/>
            </a:bodyPr>
            <a:lstStyle/>
            <a:p>
              <a:r>
                <a:rPr lang="cs-CZ" sz="700" i="0" dirty="0">
                  <a:solidFill>
                    <a:schemeClr val="bg2">
                      <a:lumMod val="10000"/>
                    </a:schemeClr>
                  </a:solidFill>
                </a:rPr>
                <a:t>Evropská</a:t>
              </a:r>
              <a:r>
                <a:rPr lang="cs-CZ" sz="700" i="0" baseline="0" dirty="0">
                  <a:solidFill>
                    <a:schemeClr val="bg2">
                      <a:lumMod val="10000"/>
                    </a:schemeClr>
                  </a:solidFill>
                </a:rPr>
                <a:t> unie</a:t>
              </a:r>
            </a:p>
            <a:p>
              <a:r>
                <a:rPr lang="cs-CZ" sz="700" i="0" baseline="0" dirty="0">
                  <a:solidFill>
                    <a:schemeClr val="bg2">
                      <a:lumMod val="10000"/>
                    </a:schemeClr>
                  </a:solidFill>
                </a:rPr>
                <a:t>Evropský sociální fond</a:t>
              </a:r>
            </a:p>
            <a:p>
              <a:r>
                <a:rPr lang="cs-CZ" sz="700" i="0" baseline="0" dirty="0">
                  <a:solidFill>
                    <a:schemeClr val="bg2">
                      <a:lumMod val="10000"/>
                    </a:schemeClr>
                  </a:solidFill>
                </a:rPr>
                <a:t>Operační program Zaměstnanost</a:t>
              </a:r>
              <a:endParaRPr lang="cs-CZ" sz="700" i="0" dirty="0">
                <a:solidFill>
                  <a:schemeClr val="bg2">
                    <a:lumMod val="10000"/>
                  </a:schemeClr>
                </a:solidFill>
              </a:endParaRPr>
            </a:p>
          </p:txBody>
        </p:sp>
      </p:grpSp>
      <p:pic>
        <p:nvPicPr>
          <p:cNvPr id="18" name="Obrázek 17">
            <a:extLst>
              <a:ext uri="{FF2B5EF4-FFF2-40B4-BE49-F238E27FC236}">
                <a16:creationId xmlns:a16="http://schemas.microsoft.com/office/drawing/2014/main" id="{D3A64A3E-5CE1-4373-9488-123DE518BFF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142168" y="6395690"/>
            <a:ext cx="1563511" cy="360000"/>
          </a:xfrm>
          <a:prstGeom prst="rect">
            <a:avLst/>
          </a:prstGeom>
        </p:spPr>
      </p:pic>
      <p:pic>
        <p:nvPicPr>
          <p:cNvPr id="22" name="Obrázek 21">
            <a:extLst>
              <a:ext uri="{FF2B5EF4-FFF2-40B4-BE49-F238E27FC236}">
                <a16:creationId xmlns:a16="http://schemas.microsoft.com/office/drawing/2014/main" id="{813C5B4A-5521-4F74-8DBB-23F3AD51747E}"/>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7142432" y="6395690"/>
            <a:ext cx="545828" cy="360000"/>
          </a:xfrm>
          <a:prstGeom prst="rect">
            <a:avLst/>
          </a:prstGeom>
        </p:spPr>
      </p:pic>
      <p:pic>
        <p:nvPicPr>
          <p:cNvPr id="23" name="Grafický objekt 13">
            <a:extLst>
              <a:ext uri="{FF2B5EF4-FFF2-40B4-BE49-F238E27FC236}">
                <a16:creationId xmlns:a16="http://schemas.microsoft.com/office/drawing/2014/main" id="{4CAC0E8A-9294-4088-87D2-D875E5895AD2}"/>
              </a:ext>
            </a:extLst>
          </p:cNvPr>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25012" y="6472776"/>
            <a:ext cx="2627630" cy="222885"/>
          </a:xfrm>
          <a:prstGeom prst="rect">
            <a:avLst/>
          </a:prstGeom>
        </p:spPr>
      </p:pic>
    </p:spTree>
    <p:extLst>
      <p:ext uri="{BB962C8B-B14F-4D97-AF65-F5344CB8AC3E}">
        <p14:creationId xmlns:p14="http://schemas.microsoft.com/office/powerpoint/2010/main" val="161138263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rgbClr val="724F77"/>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48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302217487"/>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80250724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BE882FD9-D878-4FCD-9C72-C60BD3C7D753}"/>
              </a:ext>
            </a:extLst>
          </p:cNvPr>
          <p:cNvSpPr/>
          <p:nvPr userDrawn="1"/>
        </p:nvSpPr>
        <p:spPr>
          <a:xfrm>
            <a:off x="1" y="1"/>
            <a:ext cx="12192000" cy="681036"/>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solidFill>
                <a:schemeClr val="bg1"/>
              </a:solidFill>
              <a:latin typeface="Arial (Základní text)"/>
            </a:endParaRP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55986" y="1"/>
            <a:ext cx="8808993" cy="681036"/>
          </a:xfrm>
          <a:prstGeom prst="rect">
            <a:avLst/>
          </a:prstGeom>
        </p:spPr>
        <p:txBody>
          <a:bodyPr vert="horz" lIns="91440" tIns="45720" rIns="91440" bIns="45720" rtlCol="0" anchor="ctr">
            <a:normAutofit/>
          </a:bodyPr>
          <a:lstStyle/>
          <a:p>
            <a:r>
              <a:rPr lang="cs-CZ" dirty="0"/>
              <a:t>Kliknutím lze upravit styl.</a:t>
            </a:r>
          </a:p>
        </p:txBody>
      </p:sp>
      <p:grpSp>
        <p:nvGrpSpPr>
          <p:cNvPr id="11" name="Skupina 10">
            <a:extLst>
              <a:ext uri="{FF2B5EF4-FFF2-40B4-BE49-F238E27FC236}">
                <a16:creationId xmlns:a16="http://schemas.microsoft.com/office/drawing/2014/main" id="{677A8944-7C67-401C-A076-2F9A4BFDBF1A}"/>
              </a:ext>
            </a:extLst>
          </p:cNvPr>
          <p:cNvGrpSpPr/>
          <p:nvPr userDrawn="1"/>
        </p:nvGrpSpPr>
        <p:grpSpPr>
          <a:xfrm>
            <a:off x="9532058" y="94004"/>
            <a:ext cx="2587791" cy="308285"/>
            <a:chOff x="8214317" y="331276"/>
            <a:chExt cx="3881688" cy="450808"/>
          </a:xfrm>
        </p:grpSpPr>
        <p:pic>
          <p:nvPicPr>
            <p:cNvPr id="12" name="Grafický objekt 11">
              <a:extLst>
                <a:ext uri="{FF2B5EF4-FFF2-40B4-BE49-F238E27FC236}">
                  <a16:creationId xmlns:a16="http://schemas.microsoft.com/office/drawing/2014/main" id="{85265334-1A97-4E03-A335-0EFFE9BA915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14317" y="471177"/>
              <a:ext cx="2963998" cy="252000"/>
            </a:xfrm>
            <a:prstGeom prst="rect">
              <a:avLst/>
            </a:prstGeom>
          </p:spPr>
        </p:pic>
        <p:pic>
          <p:nvPicPr>
            <p:cNvPr id="13" name="Obrázek 12" descr="Obsah obrázku kreslení&#10;&#10;Popis byl vytvořen automaticky">
              <a:extLst>
                <a:ext uri="{FF2B5EF4-FFF2-40B4-BE49-F238E27FC236}">
                  <a16:creationId xmlns:a16="http://schemas.microsoft.com/office/drawing/2014/main" id="{F366B753-F05F-414A-91C1-96175A86F10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14" name="Grafický objekt 13">
            <a:extLst>
              <a:ext uri="{FF2B5EF4-FFF2-40B4-BE49-F238E27FC236}">
                <a16:creationId xmlns:a16="http://schemas.microsoft.com/office/drawing/2014/main" id="{1E3E26BE-213E-4D1E-96AC-DD921E82501F}"/>
              </a:ext>
            </a:extLst>
          </p:cNvPr>
          <p:cNvPicPr>
            <a:picLocks noChangeAspect="1"/>
          </p:cNvPicPr>
          <p:nvPr userDrawn="1"/>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4671962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Lst>
  <p:hf hdr="0" dt="0"/>
  <p:txStyles>
    <p:titleStyle>
      <a:lvl1pPr algn="l" defTabSz="914400" rtl="0" eaLnBrk="1" latinLnBrk="0" hangingPunct="1">
        <a:lnSpc>
          <a:spcPct val="90000"/>
        </a:lnSpc>
        <a:spcBef>
          <a:spcPct val="0"/>
        </a:spcBef>
        <a:buNone/>
        <a:defRPr sz="32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tags" Target="../tags/tag28.xml"/></Relationships>
</file>

<file path=ppt/slides/_rels/slide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slideLayout" Target="../slideLayouts/slideLayout5.xml"/><Relationship Id="rId4" Type="http://schemas.openxmlformats.org/officeDocument/2006/relationships/tags" Target="../tags/tag3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xml"/><Relationship Id="rId1" Type="http://schemas.openxmlformats.org/officeDocument/2006/relationships/tags" Target="../tags/tag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tags" Target="../tags/tag36.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chart" Target="../charts/chart3.xml"/><Relationship Id="rId5" Type="http://schemas.openxmlformats.org/officeDocument/2006/relationships/tags" Target="../tags/tag45.xml"/><Relationship Id="rId10" Type="http://schemas.openxmlformats.org/officeDocument/2006/relationships/slideLayout" Target="../slideLayouts/slideLayout6.xml"/><Relationship Id="rId4" Type="http://schemas.openxmlformats.org/officeDocument/2006/relationships/tags" Target="../tags/tag44.xml"/><Relationship Id="rId9" Type="http://schemas.openxmlformats.org/officeDocument/2006/relationships/tags" Target="../tags/tag4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chart" Target="../charts/chart4.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s>
</file>

<file path=ppt/slides/_rels/slide31.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chart" Target="../charts/chart5.xml"/><Relationship Id="rId5" Type="http://schemas.openxmlformats.org/officeDocument/2006/relationships/tags" Target="../tags/tag65.xml"/><Relationship Id="rId10" Type="http://schemas.openxmlformats.org/officeDocument/2006/relationships/slideLayout" Target="../slideLayouts/slideLayout6.xml"/><Relationship Id="rId4" Type="http://schemas.openxmlformats.org/officeDocument/2006/relationships/tags" Target="../tags/tag64.xml"/><Relationship Id="rId9" Type="http://schemas.openxmlformats.org/officeDocument/2006/relationships/tags" Target="../tags/tag6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chart" Target="../charts/chart6.xml"/></Relationships>
</file>

<file path=ppt/slides/_rels/slide34.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chart" Target="../charts/chart7.xml"/><Relationship Id="rId4"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chart" Target="../charts/chart8.xml"/><Relationship Id="rId4"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chart" Target="../charts/chart9.xml"/><Relationship Id="rId4"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chart" Target="../charts/chart10.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37.emf"/><Relationship Id="rId4" Type="http://schemas.openxmlformats.org/officeDocument/2006/relationships/tags" Target="../tags/tag8.xml"/><Relationship Id="rId9"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chart" Target="../charts/chart1.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1"/>
            </p:custDataLst>
          </p:nvPr>
        </p:nvSpPr>
        <p:spPr>
          <a:xfrm>
            <a:off x="143346" y="3828910"/>
            <a:ext cx="11905307" cy="2236911"/>
          </a:xfrm>
        </p:spPr>
        <p:txBody>
          <a:bodyPr>
            <a:normAutofit lnSpcReduction="10000"/>
          </a:bodyPr>
          <a:lstStyle/>
          <a:p>
            <a:r>
              <a:rPr lang="cs-CZ" sz="5200" b="1" dirty="0"/>
              <a:t>Variantní predikce možného vývoje epidemie</a:t>
            </a:r>
          </a:p>
          <a:p>
            <a:r>
              <a:rPr lang="cs-CZ" sz="5200" b="1" i="1" dirty="0"/>
              <a:t>Draft k 19.</a:t>
            </a:r>
            <a:r>
              <a:rPr lang="en-US" sz="5200" b="1" i="1" dirty="0"/>
              <a:t>9</a:t>
            </a:r>
            <a:r>
              <a:rPr lang="cs-CZ" sz="5200" b="1" i="1" dirty="0"/>
              <a:t>. 2021</a:t>
            </a:r>
            <a:endParaRPr lang="cs-CZ" sz="4200" i="1" dirty="0"/>
          </a:p>
        </p:txBody>
      </p:sp>
    </p:spTree>
    <p:extLst>
      <p:ext uri="{BB962C8B-B14F-4D97-AF65-F5344CB8AC3E}">
        <p14:creationId xmlns:p14="http://schemas.microsoft.com/office/powerpoint/2010/main" val="23007466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937620" y="2565874"/>
            <a:ext cx="11121030" cy="224676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sng" strike="noStrike" kern="1200" cap="none" spc="0" normalizeH="0" baseline="0" noProof="0" dirty="0">
                <a:ln>
                  <a:noFill/>
                </a:ln>
                <a:solidFill>
                  <a:srgbClr val="C00000"/>
                </a:solidFill>
                <a:effectLst/>
                <a:uLnTx/>
                <a:uFillTx/>
                <a:latin typeface="Calibri" panose="020F0502020204030204"/>
                <a:ea typeface="+mn-ea"/>
                <a:cs typeface="+mn-cs"/>
              </a:rPr>
              <a:t>V ČR je stále cca 420 000 neočkovaných a průběhem nemoci nechráněných osob ve věku 60+ </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více než 80% populace 60+ je již očkována alespoň jednou dávkou). </a:t>
            </a:r>
            <a:r>
              <a:rPr lang="cs-CZ" sz="2000" b="1" dirty="0">
                <a:solidFill>
                  <a:srgbClr val="C00000"/>
                </a:solidFill>
                <a:latin typeface="Calibri" panose="020F0502020204030204"/>
              </a:rPr>
              <a:t>Stále jde o vysoký počet potenciálně zranitelných osob, které jsou z velké části primárně naivní vůči nákaze. Dle populačních statistik více než 60% těchto osob trpí jednou či více chronickými chorobami, které jejich zranitelnost zvyšují. Situaci může komplikovat i časový vývoj – tedy ztráta nebo částečné snížení imunitní ochrany u velmi seniorní a </a:t>
            </a:r>
            <a:r>
              <a:rPr lang="cs-CZ" sz="2000" b="1" dirty="0" err="1">
                <a:solidFill>
                  <a:srgbClr val="C00000"/>
                </a:solidFill>
                <a:latin typeface="Calibri" panose="020F0502020204030204"/>
              </a:rPr>
              <a:t>polymorbidní</a:t>
            </a:r>
            <a:r>
              <a:rPr lang="cs-CZ" sz="2000" b="1" dirty="0">
                <a:solidFill>
                  <a:srgbClr val="C00000"/>
                </a:solidFill>
                <a:latin typeface="Calibri" panose="020F0502020204030204"/>
              </a:rPr>
              <a:t> populace, která byla očkována v 1. fázi vakcinace (leden – únor 2021 -&gt; na podzim to bude již déle než 8 – 9 měsíců, síla ochrany může u nemocných a starých lidí klesat).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e značn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33350" y="3330360"/>
            <a:ext cx="733425" cy="646331"/>
          </a:xfrm>
          <a:prstGeom prst="rect">
            <a:avLst/>
          </a:prstGeom>
          <a:solidFill>
            <a:srgbClr val="C00000"/>
          </a:solidFill>
        </p:spPr>
        <p:txBody>
          <a:bodyPr wrap="square" rtlCol="0">
            <a:spAutoFit/>
          </a:bodyPr>
          <a:lstStyle/>
          <a:p>
            <a:pPr algn="ctr"/>
            <a:r>
              <a:rPr lang="cs-CZ" sz="3600" b="1" dirty="0">
                <a:solidFill>
                  <a:schemeClr val="bg1"/>
                </a:solidFill>
              </a:rPr>
              <a:t>3.</a:t>
            </a:r>
          </a:p>
        </p:txBody>
      </p:sp>
      <p:sp>
        <p:nvSpPr>
          <p:cNvPr id="12" name="Šipka dolů 5">
            <a:extLst>
              <a:ext uri="{FF2B5EF4-FFF2-40B4-BE49-F238E27FC236}">
                <a16:creationId xmlns:a16="http://schemas.microsoft.com/office/drawing/2014/main" id="{902FC3E1-0405-49C2-A95C-429D795A0911}"/>
              </a:ext>
            </a:extLst>
          </p:cNvPr>
          <p:cNvSpPr/>
          <p:nvPr/>
        </p:nvSpPr>
        <p:spPr>
          <a:xfrm>
            <a:off x="5164700" y="545000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397832" y="5944798"/>
            <a:ext cx="11421705" cy="830997"/>
          </a:xfrm>
          <a:prstGeom prst="rect">
            <a:avLst/>
          </a:prstGeom>
          <a:noFill/>
        </p:spPr>
        <p:txBody>
          <a:bodyPr wrap="square" rtlCol="0">
            <a:spAutoFit/>
          </a:bodyPr>
          <a:lstStyle/>
          <a:p>
            <a:pPr algn="ctr"/>
            <a:r>
              <a:rPr lang="cs-CZ" sz="2400" i="1" dirty="0"/>
              <a:t>Dokončení očkování seniorní populace a populace chronicky nemocných osob je zásadním faktorem, který bude determinovat zdravotní dopad šíření nákazy na podzim 2021. </a:t>
            </a:r>
          </a:p>
        </p:txBody>
      </p:sp>
    </p:spTree>
    <p:extLst>
      <p:ext uri="{BB962C8B-B14F-4D97-AF65-F5344CB8AC3E}">
        <p14:creationId xmlns:p14="http://schemas.microsoft.com/office/powerpoint/2010/main" val="4143448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dnadpis 2">
            <a:extLst>
              <a:ext uri="{FF2B5EF4-FFF2-40B4-BE49-F238E27FC236}">
                <a16:creationId xmlns:a16="http://schemas.microsoft.com/office/drawing/2014/main" id="{3DC956FD-6669-4C82-B852-E3CE5A476C50}"/>
              </a:ext>
            </a:extLst>
          </p:cNvPr>
          <p:cNvSpPr txBox="1">
            <a:spLocks/>
          </p:cNvSpPr>
          <p:nvPr>
            <p:custDataLst>
              <p:tags r:id="rId1"/>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e značnou mírou rizika a s možností eskalace nákazy</a:t>
            </a:r>
          </a:p>
        </p:txBody>
      </p:sp>
      <p:sp>
        <p:nvSpPr>
          <p:cNvPr id="10" name="TextovéPole 9">
            <a:extLst>
              <a:ext uri="{FF2B5EF4-FFF2-40B4-BE49-F238E27FC236}">
                <a16:creationId xmlns:a16="http://schemas.microsoft.com/office/drawing/2014/main" id="{2C98192F-424C-4647-82A6-411F6943FFF9}"/>
              </a:ext>
            </a:extLst>
          </p:cNvPr>
          <p:cNvSpPr txBox="1"/>
          <p:nvPr/>
        </p:nvSpPr>
        <p:spPr>
          <a:xfrm>
            <a:off x="397832" y="5944798"/>
            <a:ext cx="11421705" cy="830997"/>
          </a:xfrm>
          <a:prstGeom prst="rect">
            <a:avLst/>
          </a:prstGeom>
          <a:noFill/>
        </p:spPr>
        <p:txBody>
          <a:bodyPr wrap="square" rtlCol="0">
            <a:spAutoFit/>
          </a:bodyPr>
          <a:lstStyle/>
          <a:p>
            <a:pPr algn="ctr"/>
            <a:r>
              <a:rPr lang="cs-CZ" sz="2400" i="1" dirty="0"/>
              <a:t>Dokončení očkování seniorní populace a populace chronicky nemocných osob je zásadním faktorem, který bude determinovat zdravotní dopad šíření nákazy na podzim 2021. </a:t>
            </a:r>
          </a:p>
        </p:txBody>
      </p:sp>
      <p:graphicFrame>
        <p:nvGraphicFramePr>
          <p:cNvPr id="4" name="Tabulka 3">
            <a:extLst>
              <a:ext uri="{FF2B5EF4-FFF2-40B4-BE49-F238E27FC236}">
                <a16:creationId xmlns:a16="http://schemas.microsoft.com/office/drawing/2014/main" id="{ADECBA86-9838-4FD9-8720-AF827356F3A6}"/>
              </a:ext>
            </a:extLst>
          </p:cNvPr>
          <p:cNvGraphicFramePr>
            <a:graphicFrameLocks noGrp="1"/>
          </p:cNvGraphicFramePr>
          <p:nvPr>
            <p:custDataLst>
              <p:tags r:id="rId2"/>
            </p:custDataLst>
            <p:extLst>
              <p:ext uri="{D42A27DB-BD31-4B8C-83A1-F6EECF244321}">
                <p14:modId xmlns:p14="http://schemas.microsoft.com/office/powerpoint/2010/main" val="1173817787"/>
              </p:ext>
            </p:extLst>
          </p:nvPr>
        </p:nvGraphicFramePr>
        <p:xfrm>
          <a:off x="1794891" y="1530666"/>
          <a:ext cx="3798951" cy="572610"/>
        </p:xfrm>
        <a:graphic>
          <a:graphicData uri="http://schemas.openxmlformats.org/drawingml/2006/table">
            <a:tbl>
              <a:tblPr>
                <a:tableStyleId>{5C22544A-7EE6-4342-B048-85BDC9FD1C3A}</a:tableStyleId>
              </a:tblPr>
              <a:tblGrid>
                <a:gridCol w="3798951">
                  <a:extLst>
                    <a:ext uri="{9D8B030D-6E8A-4147-A177-3AD203B41FA5}">
                      <a16:colId xmlns:a16="http://schemas.microsoft.com/office/drawing/2014/main" val="3588119763"/>
                    </a:ext>
                  </a:extLst>
                </a:gridCol>
              </a:tblGrid>
              <a:tr h="288765">
                <a:tc>
                  <a:txBody>
                    <a:bodyPr/>
                    <a:lstStyle/>
                    <a:p>
                      <a:pPr algn="l" fontAlgn="b"/>
                      <a:r>
                        <a:rPr lang="es-ES" sz="1800" b="1" u="none" strike="noStrike" dirty="0">
                          <a:effectLst/>
                        </a:rPr>
                        <a:t>Osoby ve věku 60</a:t>
                      </a:r>
                      <a:r>
                        <a:rPr lang="cs-CZ" sz="1800" b="1" u="none" strike="noStrike" dirty="0">
                          <a:effectLst/>
                        </a:rPr>
                        <a:t> </a:t>
                      </a:r>
                      <a:r>
                        <a:rPr lang="es-ES" sz="1800" b="1" u="none" strike="noStrike" dirty="0">
                          <a:effectLst/>
                        </a:rPr>
                        <a:t>a více let</a:t>
                      </a:r>
                      <a:endParaRPr lang="es-ES" sz="18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883056128"/>
                  </a:ext>
                </a:extLst>
              </a:tr>
              <a:tr h="190500">
                <a:tc>
                  <a:txBody>
                    <a:bodyPr/>
                    <a:lstStyle/>
                    <a:p>
                      <a:pPr algn="l" fontAlgn="b"/>
                      <a:r>
                        <a:rPr lang="cs-CZ" sz="1800" b="1" u="none" strike="noStrike" dirty="0">
                          <a:effectLst/>
                        </a:rPr>
                        <a:t>Stav k 19.</a:t>
                      </a:r>
                      <a:r>
                        <a:rPr lang="en-US" sz="1800" b="1" u="none" strike="noStrike" dirty="0">
                          <a:effectLst/>
                        </a:rPr>
                        <a:t>9</a:t>
                      </a:r>
                      <a:r>
                        <a:rPr lang="cs-CZ" sz="1800" b="1" u="none" strike="noStrike" dirty="0">
                          <a:effectLst/>
                        </a:rPr>
                        <a:t>.2021</a:t>
                      </a:r>
                      <a:endParaRPr lang="cs-CZ" sz="18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255354566"/>
                  </a:ext>
                </a:extLst>
              </a:tr>
            </a:tbl>
          </a:graphicData>
        </a:graphic>
      </p:graphicFrame>
      <p:sp>
        <p:nvSpPr>
          <p:cNvPr id="6" name="Šipka dolů 5"/>
          <p:cNvSpPr/>
          <p:nvPr>
            <p:custDataLst>
              <p:tags r:id="rId3"/>
            </p:custDataLst>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 name="Table 1">
            <a:extLst>
              <a:ext uri="{FF2B5EF4-FFF2-40B4-BE49-F238E27FC236}">
                <a16:creationId xmlns:a16="http://schemas.microsoft.com/office/drawing/2014/main" id="{E54A6BD0-1F90-4D4C-B0E2-57192B6FE747}"/>
              </a:ext>
            </a:extLst>
          </p:cNvPr>
          <p:cNvGraphicFramePr>
            <a:graphicFrameLocks noGrp="1"/>
          </p:cNvGraphicFramePr>
          <p:nvPr>
            <p:custDataLst>
              <p:tags r:id="rId4"/>
            </p:custDataLst>
            <p:extLst>
              <p:ext uri="{D42A27DB-BD31-4B8C-83A1-F6EECF244321}">
                <p14:modId xmlns:p14="http://schemas.microsoft.com/office/powerpoint/2010/main" val="1735853656"/>
              </p:ext>
            </p:extLst>
          </p:nvPr>
        </p:nvGraphicFramePr>
        <p:xfrm>
          <a:off x="1662255" y="2317404"/>
          <a:ext cx="7454900" cy="3238500"/>
        </p:xfrm>
        <a:graphic>
          <a:graphicData uri="http://schemas.openxmlformats.org/drawingml/2006/table">
            <a:tbl>
              <a:tblPr/>
              <a:tblGrid>
                <a:gridCol w="1711584">
                  <a:extLst>
                    <a:ext uri="{9D8B030D-6E8A-4147-A177-3AD203B41FA5}">
                      <a16:colId xmlns:a16="http://schemas.microsoft.com/office/drawing/2014/main" val="1763596476"/>
                    </a:ext>
                  </a:extLst>
                </a:gridCol>
                <a:gridCol w="1435829">
                  <a:extLst>
                    <a:ext uri="{9D8B030D-6E8A-4147-A177-3AD203B41FA5}">
                      <a16:colId xmlns:a16="http://schemas.microsoft.com/office/drawing/2014/main" val="4072393181"/>
                    </a:ext>
                  </a:extLst>
                </a:gridCol>
                <a:gridCol w="1435829">
                  <a:extLst>
                    <a:ext uri="{9D8B030D-6E8A-4147-A177-3AD203B41FA5}">
                      <a16:colId xmlns:a16="http://schemas.microsoft.com/office/drawing/2014/main" val="4110300397"/>
                    </a:ext>
                  </a:extLst>
                </a:gridCol>
                <a:gridCol w="1435829">
                  <a:extLst>
                    <a:ext uri="{9D8B030D-6E8A-4147-A177-3AD203B41FA5}">
                      <a16:colId xmlns:a16="http://schemas.microsoft.com/office/drawing/2014/main" val="2754572341"/>
                    </a:ext>
                  </a:extLst>
                </a:gridCol>
                <a:gridCol w="1435829">
                  <a:extLst>
                    <a:ext uri="{9D8B030D-6E8A-4147-A177-3AD203B41FA5}">
                      <a16:colId xmlns:a16="http://schemas.microsoft.com/office/drawing/2014/main" val="1601567458"/>
                    </a:ext>
                  </a:extLst>
                </a:gridCol>
              </a:tblGrid>
              <a:tr h="381000">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1" u="none" strike="noStrike">
                          <a:solidFill>
                            <a:srgbClr val="000000"/>
                          </a:solidFill>
                          <a:effectLst/>
                          <a:latin typeface="Calibri" panose="020F0502020204030204" pitchFamily="34" charset="0"/>
                        </a:rPr>
                        <a:t>Popula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000000"/>
                          </a:solidFill>
                          <a:effectLst/>
                          <a:latin typeface="Calibri" panose="020F0502020204030204" pitchFamily="34" charset="0"/>
                        </a:rPr>
                        <a:t>Očkovaní alespoň jednou dávko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000000"/>
                          </a:solidFill>
                          <a:effectLst/>
                          <a:latin typeface="Calibri" panose="020F0502020204030204" pitchFamily="34" charset="0"/>
                        </a:rPr>
                        <a:t>Neočkovaní, prodělali onemocněn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C00000"/>
                          </a:solidFill>
                          <a:effectLst/>
                          <a:latin typeface="Calibri" panose="020F0502020204030204" pitchFamily="34" charset="0"/>
                        </a:rPr>
                        <a:t>Ostatn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71305670"/>
                  </a:ext>
                </a:extLst>
              </a:tr>
              <a:tr h="190500">
                <a:tc>
                  <a:txBody>
                    <a:bodyPr/>
                    <a:lstStyle/>
                    <a:p>
                      <a:pPr algn="l" fontAlgn="ctr"/>
                      <a:r>
                        <a:rPr lang="cs-CZ" sz="1100" b="1" i="0" u="none" strike="noStrike">
                          <a:solidFill>
                            <a:srgbClr val="000000"/>
                          </a:solidFill>
                          <a:effectLst/>
                          <a:latin typeface="Calibri" panose="020F0502020204030204" pitchFamily="34" charset="0"/>
                        </a:rPr>
                        <a:t>CZ010 Hlavní město Prah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9 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66 694 (8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 902 (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43 795 (1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651134"/>
                  </a:ext>
                </a:extLst>
              </a:tr>
              <a:tr h="190500">
                <a:tc>
                  <a:txBody>
                    <a:bodyPr/>
                    <a:lstStyle/>
                    <a:p>
                      <a:pPr algn="l" fontAlgn="ctr"/>
                      <a:r>
                        <a:rPr lang="cs-CZ" sz="1100" b="1" i="0" u="none" strike="noStrike">
                          <a:solidFill>
                            <a:srgbClr val="000000"/>
                          </a:solidFill>
                          <a:effectLst/>
                          <a:latin typeface="Calibri" panose="020F0502020204030204" pitchFamily="34" charset="0"/>
                        </a:rPr>
                        <a:t>CZ020 Středoče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35 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82 521 (8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 278 (3,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42 966 (1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31685"/>
                  </a:ext>
                </a:extLst>
              </a:tr>
              <a:tr h="190500">
                <a:tc>
                  <a:txBody>
                    <a:bodyPr/>
                    <a:lstStyle/>
                    <a:p>
                      <a:pPr algn="l" fontAlgn="ctr"/>
                      <a:r>
                        <a:rPr lang="cs-CZ" sz="1100" b="1" i="0" u="none" strike="noStrike">
                          <a:solidFill>
                            <a:srgbClr val="000000"/>
                          </a:solidFill>
                          <a:effectLst/>
                          <a:latin typeface="Calibri" panose="020F0502020204030204" pitchFamily="34" charset="0"/>
                        </a:rPr>
                        <a:t>CZ031 Jihoče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74 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45 367 (8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84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4 051 (13,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4743168"/>
                  </a:ext>
                </a:extLst>
              </a:tr>
              <a:tr h="190500">
                <a:tc>
                  <a:txBody>
                    <a:bodyPr/>
                    <a:lstStyle/>
                    <a:p>
                      <a:pPr algn="l" fontAlgn="ctr"/>
                      <a:r>
                        <a:rPr lang="cs-CZ" sz="1100" b="1" i="0" u="none" strike="noStrike">
                          <a:solidFill>
                            <a:srgbClr val="000000"/>
                          </a:solidFill>
                          <a:effectLst/>
                          <a:latin typeface="Calibri" panose="020F0502020204030204" pitchFamily="34" charset="0"/>
                        </a:rPr>
                        <a:t>CZ032 Plzeň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6 8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7 988 (8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95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3 632 (15,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4291194"/>
                  </a:ext>
                </a:extLst>
              </a:tr>
              <a:tr h="190500">
                <a:tc>
                  <a:txBody>
                    <a:bodyPr/>
                    <a:lstStyle/>
                    <a:p>
                      <a:pPr algn="l" fontAlgn="ctr"/>
                      <a:r>
                        <a:rPr lang="cs-CZ" sz="1100" b="1" i="0" u="none" strike="noStrike">
                          <a:solidFill>
                            <a:srgbClr val="000000"/>
                          </a:solidFill>
                          <a:effectLst/>
                          <a:latin typeface="Calibri" panose="020F0502020204030204" pitchFamily="34" charset="0"/>
                        </a:rPr>
                        <a:t>CZ041 Karlovar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79 3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2 327 (78,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678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4 341 (1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6458810"/>
                  </a:ext>
                </a:extLst>
              </a:tr>
              <a:tr h="190500">
                <a:tc>
                  <a:txBody>
                    <a:bodyPr/>
                    <a:lstStyle/>
                    <a:p>
                      <a:pPr algn="l" fontAlgn="ctr"/>
                      <a:r>
                        <a:rPr lang="cs-CZ" sz="1100" b="1" i="0" u="none" strike="noStrike">
                          <a:solidFill>
                            <a:srgbClr val="000000"/>
                          </a:solidFill>
                          <a:effectLst/>
                          <a:latin typeface="Calibri" panose="020F0502020204030204" pitchFamily="34" charset="0"/>
                        </a:rPr>
                        <a:t>CZ042 Úst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210 5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69 654 (80,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 787 (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34 090 (16,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062223"/>
                  </a:ext>
                </a:extLst>
              </a:tr>
              <a:tr h="190500">
                <a:tc>
                  <a:txBody>
                    <a:bodyPr/>
                    <a:lstStyle/>
                    <a:p>
                      <a:pPr algn="l" fontAlgn="ctr"/>
                      <a:r>
                        <a:rPr lang="cs-CZ" sz="1100" b="1" i="0" u="none" strike="noStrike">
                          <a:solidFill>
                            <a:srgbClr val="000000"/>
                          </a:solidFill>
                          <a:effectLst/>
                          <a:latin typeface="Calibri" panose="020F0502020204030204" pitchFamily="34" charset="0"/>
                        </a:rPr>
                        <a:t>CZ051 Liber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15 6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3 160 (80,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238 (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8 252 (15,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6257976"/>
                  </a:ext>
                </a:extLst>
              </a:tr>
              <a:tr h="190500">
                <a:tc>
                  <a:txBody>
                    <a:bodyPr/>
                    <a:lstStyle/>
                    <a:p>
                      <a:pPr algn="l" fontAlgn="ctr"/>
                      <a:r>
                        <a:rPr lang="cs-CZ" sz="1100" b="1" i="0" u="none" strike="noStrike">
                          <a:solidFill>
                            <a:srgbClr val="000000"/>
                          </a:solidFill>
                          <a:effectLst/>
                          <a:latin typeface="Calibri" panose="020F0502020204030204" pitchFamily="34" charset="0"/>
                        </a:rPr>
                        <a:t>CZ052 Královéhrad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4 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7 323 (8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176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1 636 (1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1538874"/>
                  </a:ext>
                </a:extLst>
              </a:tr>
              <a:tr h="190500">
                <a:tc>
                  <a:txBody>
                    <a:bodyPr/>
                    <a:lstStyle/>
                    <a:p>
                      <a:pPr algn="l" fontAlgn="ctr"/>
                      <a:r>
                        <a:rPr lang="cs-CZ" sz="1100" b="1" i="0" u="none" strike="noStrike">
                          <a:solidFill>
                            <a:srgbClr val="000000"/>
                          </a:solidFill>
                          <a:effectLst/>
                          <a:latin typeface="Calibri" panose="020F0502020204030204" pitchFamily="34" charset="0"/>
                        </a:rPr>
                        <a:t>CZ053 Pardubi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8 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4 140 (8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921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9 627 (14,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7098512"/>
                  </a:ext>
                </a:extLst>
              </a:tr>
              <a:tr h="190500">
                <a:tc>
                  <a:txBody>
                    <a:bodyPr/>
                    <a:lstStyle/>
                    <a:p>
                      <a:pPr algn="l" fontAlgn="ctr"/>
                      <a:r>
                        <a:rPr lang="cs-CZ" sz="1100" b="1" i="0" u="none" strike="noStrike">
                          <a:solidFill>
                            <a:srgbClr val="000000"/>
                          </a:solidFill>
                          <a:effectLst/>
                          <a:latin typeface="Calibri" panose="020F0502020204030204" pitchFamily="34" charset="0"/>
                        </a:rPr>
                        <a:t>CZ063 Kraj Vysočin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8 0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7 043 (84,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032 (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6 930 (1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8462746"/>
                  </a:ext>
                </a:extLst>
              </a:tr>
              <a:tr h="190500">
                <a:tc>
                  <a:txBody>
                    <a:bodyPr/>
                    <a:lstStyle/>
                    <a:p>
                      <a:pPr algn="l" fontAlgn="ctr"/>
                      <a:r>
                        <a:rPr lang="cs-CZ" sz="1100" b="1" i="0" u="none" strike="noStrike">
                          <a:solidFill>
                            <a:srgbClr val="000000"/>
                          </a:solidFill>
                          <a:effectLst/>
                          <a:latin typeface="Calibri" panose="020F0502020204030204" pitchFamily="34" charset="0"/>
                        </a:rPr>
                        <a:t>CZ064 Jihomorav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2 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51 608 (80,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 014 (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51 381 (1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5414425"/>
                  </a:ext>
                </a:extLst>
              </a:tr>
              <a:tr h="190500">
                <a:tc>
                  <a:txBody>
                    <a:bodyPr/>
                    <a:lstStyle/>
                    <a:p>
                      <a:pPr algn="l" fontAlgn="ctr"/>
                      <a:r>
                        <a:rPr lang="cs-CZ" sz="1100" b="1" i="0" u="none" strike="noStrike">
                          <a:solidFill>
                            <a:srgbClr val="000000"/>
                          </a:solidFill>
                          <a:effectLst/>
                          <a:latin typeface="Calibri" panose="020F0502020204030204" pitchFamily="34" charset="0"/>
                        </a:rPr>
                        <a:t>CZ071 Olomou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71 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5 565 (7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728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30 428 (17,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658833"/>
                  </a:ext>
                </a:extLst>
              </a:tr>
              <a:tr h="190500">
                <a:tc>
                  <a:txBody>
                    <a:bodyPr/>
                    <a:lstStyle/>
                    <a:p>
                      <a:pPr algn="l" fontAlgn="ctr"/>
                      <a:r>
                        <a:rPr lang="cs-CZ" sz="1100" b="1" i="0" u="none" strike="noStrike">
                          <a:solidFill>
                            <a:srgbClr val="000000"/>
                          </a:solidFill>
                          <a:effectLst/>
                          <a:latin typeface="Calibri" panose="020F0502020204030204" pitchFamily="34" charset="0"/>
                        </a:rPr>
                        <a:t>CZ072 Zlín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9 4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7 279 (7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358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6 772 (16,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5296821"/>
                  </a:ext>
                </a:extLst>
              </a:tr>
              <a:tr h="190500">
                <a:tc>
                  <a:txBody>
                    <a:bodyPr/>
                    <a:lstStyle/>
                    <a:p>
                      <a:pPr algn="l" fontAlgn="ctr"/>
                      <a:r>
                        <a:rPr lang="cs-CZ" sz="1100" b="1" i="0" u="none" strike="noStrike">
                          <a:solidFill>
                            <a:srgbClr val="000000"/>
                          </a:solidFill>
                          <a:effectLst/>
                          <a:latin typeface="Calibri" panose="020F0502020204030204" pitchFamily="34" charset="0"/>
                        </a:rPr>
                        <a:t>CZ080 Moravskoslez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7 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45 905 (77,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 247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60 574 (19,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6095735"/>
                  </a:ext>
                </a:extLst>
              </a:tr>
              <a:tr h="190500">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1" u="none" strike="noStrike">
                          <a:solidFill>
                            <a:srgbClr val="000000"/>
                          </a:solidFill>
                          <a:effectLst/>
                          <a:latin typeface="Calibri" panose="020F0502020204030204" pitchFamily="34" charset="0"/>
                        </a:rPr>
                        <a:t>2 783 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2 274 500 (8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89 497 (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dirty="0">
                          <a:solidFill>
                            <a:srgbClr val="C00000"/>
                          </a:solidFill>
                          <a:effectLst/>
                          <a:latin typeface="Calibri" panose="020F0502020204030204" pitchFamily="34" charset="0"/>
                        </a:rPr>
                        <a:t>419 790 (15,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6672097"/>
                  </a:ext>
                </a:extLst>
              </a:tr>
            </a:tbl>
          </a:graphicData>
        </a:graphic>
      </p:graphicFrame>
    </p:spTree>
    <p:extLst>
      <p:ext uri="{BB962C8B-B14F-4D97-AF65-F5344CB8AC3E}">
        <p14:creationId xmlns:p14="http://schemas.microsoft.com/office/powerpoint/2010/main" val="2841388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004295" y="2034284"/>
            <a:ext cx="10967642" cy="255454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V ČR stále pracuje relativně vysoký počet zdravotnických pracovníků a pracovníků pobytových sociálních služeb bez vakcinace. Jde o profese vysoce rizikové pro šíření nákazy mezi potenciálně zranitelnými pacienty či klienty těchto služeb. Proočkovanost zdravotnických profesionálů je celkově cca 70% a dle dostupných dat odmítá očkování až 30% pracovníků sociálních služeb. </a:t>
            </a:r>
          </a:p>
          <a:p>
            <a:pPr marL="0" marR="0" lvl="0" indent="0" defTabSz="914400" rtl="0" eaLnBrk="1" fontAlgn="auto" latinLnBrk="0" hangingPunct="1">
              <a:lnSpc>
                <a:spcPct val="100000"/>
              </a:lnSpc>
              <a:spcBef>
                <a:spcPts val="0"/>
              </a:spcBef>
              <a:spcAft>
                <a:spcPts val="0"/>
              </a:spcAft>
              <a:buClrTx/>
              <a:buSzTx/>
              <a:buFontTx/>
              <a:buNone/>
              <a:tabLst/>
              <a:defRPr/>
            </a:pPr>
            <a:endParaRPr lang="cs-CZ" sz="2000" b="1" dirty="0">
              <a:solidFill>
                <a:srgbClr val="C00000"/>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S </a:t>
            </a:r>
            <a:r>
              <a:rPr kumimoji="0" lang="cs-CZ" sz="2000" b="1" i="0" strike="noStrike" kern="1200" cap="none" spc="0" normalizeH="0" baseline="0" noProof="0" dirty="0" err="1">
                <a:ln>
                  <a:noFill/>
                </a:ln>
                <a:solidFill>
                  <a:srgbClr val="C00000"/>
                </a:solidFill>
                <a:effectLst/>
                <a:uLnTx/>
                <a:uFillTx/>
                <a:latin typeface="Calibri" panose="020F0502020204030204"/>
                <a:ea typeface="+mn-ea"/>
                <a:cs typeface="+mn-cs"/>
              </a:rPr>
              <a:t>tímt</a:t>
            </a:r>
            <a:r>
              <a:rPr lang="cs-CZ" sz="2000" b="1" dirty="0">
                <a:solidFill>
                  <a:srgbClr val="C00000"/>
                </a:solidFill>
                <a:latin typeface="Calibri" panose="020F0502020204030204"/>
              </a:rPr>
              <a:t>o faktem souvisí riziko zásahu zranitelných skupin obyvatel a následného zvýšení vážné nemocnosti v důsledku šíření COVID-19 na podzim. Nově dominantní varianta Delta je přitom až 2x nakažlivější než původní varianta viru z jara 2020, riziko snadného šíření nákazy je významné. </a:t>
            </a:r>
            <a:endPar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e značn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33350" y="3175163"/>
            <a:ext cx="733425" cy="646331"/>
          </a:xfrm>
          <a:prstGeom prst="rect">
            <a:avLst/>
          </a:prstGeom>
          <a:solidFill>
            <a:srgbClr val="C00000"/>
          </a:solidFill>
        </p:spPr>
        <p:txBody>
          <a:bodyPr wrap="square" rtlCol="0">
            <a:spAutoFit/>
          </a:bodyPr>
          <a:lstStyle/>
          <a:p>
            <a:pPr algn="ctr"/>
            <a:r>
              <a:rPr lang="cs-CZ" sz="3600" b="1" dirty="0">
                <a:solidFill>
                  <a:schemeClr val="bg1"/>
                </a:solidFill>
              </a:rPr>
              <a:t>4.</a:t>
            </a:r>
          </a:p>
        </p:txBody>
      </p:sp>
      <p:sp>
        <p:nvSpPr>
          <p:cNvPr id="12" name="Šipka dolů 5">
            <a:extLst>
              <a:ext uri="{FF2B5EF4-FFF2-40B4-BE49-F238E27FC236}">
                <a16:creationId xmlns:a16="http://schemas.microsoft.com/office/drawing/2014/main" id="{902FC3E1-0405-49C2-A95C-429D795A0911}"/>
              </a:ext>
            </a:extLst>
          </p:cNvPr>
          <p:cNvSpPr/>
          <p:nvPr/>
        </p:nvSpPr>
        <p:spPr>
          <a:xfrm>
            <a:off x="5155175" y="4830436"/>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474582" y="5515878"/>
            <a:ext cx="11049120" cy="1200329"/>
          </a:xfrm>
          <a:prstGeom prst="rect">
            <a:avLst/>
          </a:prstGeom>
          <a:noFill/>
        </p:spPr>
        <p:txBody>
          <a:bodyPr wrap="square" rtlCol="0">
            <a:spAutoFit/>
          </a:bodyPr>
          <a:lstStyle/>
          <a:p>
            <a:pPr algn="ctr"/>
            <a:r>
              <a:rPr lang="cs-CZ" sz="2400" i="1" dirty="0"/>
              <a:t>Dosažení vyšší proočkovanosti zdravotníků a pracovníků sociálních služeb a včasné zavedení preventivních opatření v těchto službách je zásadním faktorem pro snížení rizika vážné nemocnosti. </a:t>
            </a:r>
          </a:p>
        </p:txBody>
      </p:sp>
    </p:spTree>
    <p:extLst>
      <p:ext uri="{BB962C8B-B14F-4D97-AF65-F5344CB8AC3E}">
        <p14:creationId xmlns:p14="http://schemas.microsoft.com/office/powerpoint/2010/main" val="1763842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57785" y="0"/>
            <a:ext cx="7434501" cy="576000"/>
          </a:xfrm>
        </p:spPr>
        <p:txBody>
          <a:bodyPr/>
          <a:lstStyle/>
          <a:p>
            <a:r>
              <a:rPr lang="cs-CZ" dirty="0"/>
              <a:t>Očkovaní aktivní zdravotničtí pracovníci</a:t>
            </a:r>
          </a:p>
        </p:txBody>
      </p:sp>
      <p:sp>
        <p:nvSpPr>
          <p:cNvPr id="10" name="Obdélník 9">
            <a:extLst>
              <a:ext uri="{FF2B5EF4-FFF2-40B4-BE49-F238E27FC236}">
                <a16:creationId xmlns:a16="http://schemas.microsoft.com/office/drawing/2014/main" id="{42488E7D-BBBA-434F-B593-669897479465}"/>
              </a:ext>
            </a:extLst>
          </p:cNvPr>
          <p:cNvSpPr/>
          <p:nvPr/>
        </p:nvSpPr>
        <p:spPr>
          <a:xfrm>
            <a:off x="1733551" y="6556521"/>
            <a:ext cx="8280399"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Národní zdravotnický informační sytém (NZIS), ÚZIS ČR; Informační systém infekční nemoci (ISIN) </a:t>
            </a:r>
          </a:p>
        </p:txBody>
      </p:sp>
      <p:sp>
        <p:nvSpPr>
          <p:cNvPr id="9" name="Obdélník 8">
            <a:extLst>
              <a:ext uri="{FF2B5EF4-FFF2-40B4-BE49-F238E27FC236}">
                <a16:creationId xmlns:a16="http://schemas.microsoft.com/office/drawing/2014/main" id="{B5F8F24A-407C-46C2-BF8F-7094A798CF34}"/>
              </a:ext>
            </a:extLst>
          </p:cNvPr>
          <p:cNvSpPr/>
          <p:nvPr/>
        </p:nvSpPr>
        <p:spPr>
          <a:xfrm>
            <a:off x="331021" y="5689889"/>
            <a:ext cx="11454102"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Zákon č. 96/2004 Sb. o podmínkách získávání a uznávání způsobilosti k výkonu nelékařských zdravotnických povolání a k výkonu činnosti souvisejících s poskytováním zdravotní péče a o změně některých souvisejících zákonů (zákon o nelékařských zdravotnických povoláních); Zákona č. 95/2004 Sb. o podmínkách získávání a uznávání odborné způsobilosti a specializované způsobilosti k výkonu zdravotnického povolání lékaře, zubního lékaře a farmaceu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Počet zdravotnických pracovníků nahlášených do NZIS (Národní registr zdravotnických pracovníků – NRZP) poskytovateli zdravotních služeb jako aktivní v období od 1.6.2021 do současnosti.</a:t>
            </a:r>
          </a:p>
        </p:txBody>
      </p:sp>
      <p:sp>
        <p:nvSpPr>
          <p:cNvPr id="8" name="TextovéPole 7"/>
          <p:cNvSpPr txBox="1"/>
          <p:nvPr/>
        </p:nvSpPr>
        <p:spPr>
          <a:xfrm>
            <a:off x="309541" y="621246"/>
            <a:ext cx="115613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očet zdravotnických pracovníků (ZP) dle hlášení povinných subjektů do NRZP** (vzdělávací instituce, poskytovatelé). Celkový počet ZP zahrnuje osoby s odpovídající odbornou způsobilostí pro výkony ZP* a žijící k danému datu. V této analýze jsou zahrnuti ZP, u kterých poskytovatelé zdravotních služeb nahlásili jejich aktivní výkon zaměstnání (v ambulantním sektoru mohou být tyto počty mírně nedohlášené). </a:t>
            </a:r>
          </a:p>
        </p:txBody>
      </p:sp>
      <p:sp>
        <p:nvSpPr>
          <p:cNvPr id="12" name="TextBox 6">
            <a:extLst>
              <a:ext uri="{FF2B5EF4-FFF2-40B4-BE49-F238E27FC236}">
                <a16:creationId xmlns:a16="http://schemas.microsoft.com/office/drawing/2014/main" id="{7A968ED8-B7A5-4B68-AF27-DAE3E4FFEDCD}"/>
              </a:ext>
            </a:extLst>
          </p:cNvPr>
          <p:cNvSpPr txBox="1"/>
          <p:nvPr/>
        </p:nvSpPr>
        <p:spPr>
          <a:xfrm>
            <a:off x="6096000" y="125783"/>
            <a:ext cx="20097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FFFF"/>
                </a:solidFill>
                <a:effectLst/>
                <a:uLnTx/>
                <a:uFillTx/>
                <a:latin typeface="Arial" panose="020B0604020202020204"/>
                <a:ea typeface="+mn-ea"/>
                <a:cs typeface="+mn-cs"/>
              </a:rPr>
              <a:t>Stav k 18. 9. 2021</a:t>
            </a:r>
          </a:p>
        </p:txBody>
      </p:sp>
      <p:graphicFrame>
        <p:nvGraphicFramePr>
          <p:cNvPr id="13" name="Tabulka 12">
            <a:extLst>
              <a:ext uri="{FF2B5EF4-FFF2-40B4-BE49-F238E27FC236}">
                <a16:creationId xmlns:a16="http://schemas.microsoft.com/office/drawing/2014/main" id="{9EBA9451-7A3F-4EF9-93DD-7094F620D3D0}"/>
              </a:ext>
            </a:extLst>
          </p:cNvPr>
          <p:cNvGraphicFramePr>
            <a:graphicFrameLocks noGrp="1"/>
          </p:cNvGraphicFramePr>
          <p:nvPr/>
        </p:nvGraphicFramePr>
        <p:xfrm>
          <a:off x="356585" y="1390934"/>
          <a:ext cx="11273439" cy="4296106"/>
        </p:xfrm>
        <a:graphic>
          <a:graphicData uri="http://schemas.openxmlformats.org/drawingml/2006/table">
            <a:tbl>
              <a:tblPr firstRow="1" lastRow="1" bandRow="1">
                <a:tableStyleId>{5C22544A-7EE6-4342-B048-85BDC9FD1C3A}</a:tableStyleId>
              </a:tblPr>
              <a:tblGrid>
                <a:gridCol w="4877273">
                  <a:extLst>
                    <a:ext uri="{9D8B030D-6E8A-4147-A177-3AD203B41FA5}">
                      <a16:colId xmlns:a16="http://schemas.microsoft.com/office/drawing/2014/main" val="2651665098"/>
                    </a:ext>
                  </a:extLst>
                </a:gridCol>
                <a:gridCol w="2364698">
                  <a:extLst>
                    <a:ext uri="{9D8B030D-6E8A-4147-A177-3AD203B41FA5}">
                      <a16:colId xmlns:a16="http://schemas.microsoft.com/office/drawing/2014/main" val="3939455336"/>
                    </a:ext>
                  </a:extLst>
                </a:gridCol>
                <a:gridCol w="2015734">
                  <a:extLst>
                    <a:ext uri="{9D8B030D-6E8A-4147-A177-3AD203B41FA5}">
                      <a16:colId xmlns:a16="http://schemas.microsoft.com/office/drawing/2014/main" val="2226907532"/>
                    </a:ext>
                  </a:extLst>
                </a:gridCol>
                <a:gridCol w="2015734">
                  <a:extLst>
                    <a:ext uri="{9D8B030D-6E8A-4147-A177-3AD203B41FA5}">
                      <a16:colId xmlns:a16="http://schemas.microsoft.com/office/drawing/2014/main" val="2183727549"/>
                    </a:ext>
                  </a:extLst>
                </a:gridCol>
              </a:tblGrid>
              <a:tr h="992626">
                <a:tc>
                  <a:txBody>
                    <a:bodyPr/>
                    <a:lstStyle/>
                    <a:p>
                      <a:pPr algn="l" fontAlgn="ctr"/>
                      <a:r>
                        <a:rPr lang="cs-CZ" dirty="0"/>
                        <a:t>Zdravotničtí pracovníci </a:t>
                      </a:r>
                    </a:p>
                    <a:p>
                      <a:pPr algn="l" fontAlgn="ctr"/>
                      <a:r>
                        <a:rPr lang="cs-CZ" dirty="0"/>
                        <a:t>evidovaní v NZIS**</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dirty="0">
                          <a:effectLst/>
                        </a:rPr>
                        <a:t>Počet aktivních zdravotnických pracovníků**</a:t>
                      </a:r>
                      <a:endParaRPr lang="cs-CZ" sz="1800" b="0" i="1"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u="none" strike="noStrike" dirty="0">
                          <a:effectLst/>
                        </a:rPr>
                        <a:t>Počet očkovaných</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u="none" strike="noStrike">
                          <a:effectLst/>
                        </a:rPr>
                        <a:t>Podíl očkovaných</a:t>
                      </a:r>
                      <a:endParaRPr lang="cs-CZ" sz="1800" b="0" i="0" u="none" strike="noStrike">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3304470326"/>
                  </a:ext>
                </a:extLst>
              </a:tr>
              <a:tr h="825870">
                <a:tc>
                  <a:txBody>
                    <a:bodyPr/>
                    <a:lstStyle/>
                    <a:p>
                      <a:pPr algn="l" fontAlgn="ctr"/>
                      <a:r>
                        <a:rPr lang="cs-CZ" sz="1800" b="1" u="none" strike="noStrike" dirty="0">
                          <a:effectLst/>
                        </a:rPr>
                        <a:t>Lékaři </a:t>
                      </a:r>
                    </a:p>
                    <a:p>
                      <a:pPr algn="l" fontAlgn="ctr"/>
                      <a:r>
                        <a:rPr lang="cs-CZ" sz="1400" b="0" u="none" strike="noStrike" dirty="0">
                          <a:effectLst/>
                        </a:rPr>
                        <a:t>(včetně zubních lékařů)*</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51 499</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44 131</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85,7 %</a:t>
                      </a:r>
                    </a:p>
                  </a:txBody>
                  <a:tcPr marL="9525" marR="9525" marT="9525" marB="0" anchor="ctr"/>
                </a:tc>
                <a:extLst>
                  <a:ext uri="{0D108BD9-81ED-4DB2-BD59-A6C34878D82A}">
                    <a16:rowId xmlns:a16="http://schemas.microsoft.com/office/drawing/2014/main" val="51230907"/>
                  </a:ext>
                </a:extLst>
              </a:tr>
              <a:tr h="825870">
                <a:tc>
                  <a:txBody>
                    <a:bodyPr/>
                    <a:lstStyle/>
                    <a:p>
                      <a:pPr algn="l" fontAlgn="ctr"/>
                      <a:r>
                        <a:rPr lang="cs-CZ" sz="1800" b="1" u="none" strike="noStrike" dirty="0">
                          <a:effectLst/>
                        </a:rPr>
                        <a:t>Sestry </a:t>
                      </a:r>
                    </a:p>
                    <a:p>
                      <a:pPr algn="l" fontAlgn="ctr"/>
                      <a:r>
                        <a:rPr lang="cs-CZ" sz="1400" b="0" u="none" strike="noStrike" dirty="0">
                          <a:effectLst/>
                        </a:rPr>
                        <a:t>(§ 5 Všeobecná sestra, § 5a Dětská sestra, </a:t>
                      </a:r>
                    </a:p>
                    <a:p>
                      <a:pPr algn="l" fontAlgn="ctr"/>
                      <a:r>
                        <a:rPr lang="cs-CZ" sz="1400" b="0" u="none" strike="noStrike" dirty="0">
                          <a:effectLst/>
                        </a:rPr>
                        <a:t>§ 6 Porodní asistentka, § 21b Praktická sestra)*</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103 820</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80 930</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78,0 %</a:t>
                      </a:r>
                    </a:p>
                  </a:txBody>
                  <a:tcPr marL="9525" marR="9525" marT="9525" marB="0" anchor="ctr"/>
                </a:tc>
                <a:extLst>
                  <a:ext uri="{0D108BD9-81ED-4DB2-BD59-A6C34878D82A}">
                    <a16:rowId xmlns:a16="http://schemas.microsoft.com/office/drawing/2014/main" val="1212447989"/>
                  </a:ext>
                </a:extLst>
              </a:tr>
              <a:tr h="825870">
                <a:tc>
                  <a:txBody>
                    <a:bodyPr/>
                    <a:lstStyle/>
                    <a:p>
                      <a:pPr algn="l" fontAlgn="ctr"/>
                      <a:r>
                        <a:rPr lang="cs-CZ" sz="1800" b="1" u="none" strike="noStrike" dirty="0">
                          <a:effectLst/>
                        </a:rPr>
                        <a:t>Ostatní zdravotničtí pracovníci </a:t>
                      </a:r>
                    </a:p>
                    <a:p>
                      <a:pPr algn="l" fontAlgn="ctr"/>
                      <a:r>
                        <a:rPr lang="cs-CZ" sz="1400" b="0" u="none" strike="noStrike" dirty="0">
                          <a:effectLst/>
                        </a:rPr>
                        <a:t>(NLZP § 7 až § 42 kromě § 21b, farmaceuti)*</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92 311</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69 557</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75,4 %</a:t>
                      </a:r>
                    </a:p>
                  </a:txBody>
                  <a:tcPr marL="9525" marR="9525" marT="9525" marB="0" anchor="ctr"/>
                </a:tc>
                <a:extLst>
                  <a:ext uri="{0D108BD9-81ED-4DB2-BD59-A6C34878D82A}">
                    <a16:rowId xmlns:a16="http://schemas.microsoft.com/office/drawing/2014/main" val="4018325100"/>
                  </a:ext>
                </a:extLst>
              </a:tr>
              <a:tr h="825870">
                <a:tc>
                  <a:txBody>
                    <a:bodyPr/>
                    <a:lstStyle/>
                    <a:p>
                      <a:pPr algn="l" fontAlgn="ctr"/>
                      <a:r>
                        <a:rPr lang="cs-CZ" sz="1800" u="none" strike="noStrike" dirty="0">
                          <a:effectLst/>
                        </a:rPr>
                        <a:t>CELKEM</a:t>
                      </a:r>
                      <a:endParaRPr lang="cs-CZ" sz="18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FFFFFF"/>
                          </a:solidFill>
                          <a:effectLst/>
                          <a:latin typeface="Arial" panose="020B0604020202020204" pitchFamily="34" charset="0"/>
                        </a:rPr>
                        <a:t>247 630</a:t>
                      </a:r>
                    </a:p>
                  </a:txBody>
                  <a:tcPr marL="9525" marR="9525" marT="9525" marB="0" anchor="ctr"/>
                </a:tc>
                <a:tc>
                  <a:txBody>
                    <a:bodyPr/>
                    <a:lstStyle/>
                    <a:p>
                      <a:pPr algn="ctr" fontAlgn="ctr"/>
                      <a:r>
                        <a:rPr lang="cs-CZ" sz="1800" b="1" i="0" u="none" strike="noStrike">
                          <a:solidFill>
                            <a:srgbClr val="FFFFFF"/>
                          </a:solidFill>
                          <a:effectLst/>
                          <a:latin typeface="Arial" panose="020B0604020202020204" pitchFamily="34" charset="0"/>
                        </a:rPr>
                        <a:t>194 618</a:t>
                      </a:r>
                    </a:p>
                  </a:txBody>
                  <a:tcPr marL="9525" marR="9525" marT="9525" marB="0" anchor="ctr"/>
                </a:tc>
                <a:tc>
                  <a:txBody>
                    <a:bodyPr/>
                    <a:lstStyle/>
                    <a:p>
                      <a:pPr algn="ctr" fontAlgn="ctr"/>
                      <a:r>
                        <a:rPr lang="cs-CZ" sz="1800" b="1" i="0" u="none" strike="noStrike" dirty="0">
                          <a:solidFill>
                            <a:srgbClr val="FFFFFF"/>
                          </a:solidFill>
                          <a:effectLst/>
                          <a:latin typeface="Arial" panose="020B0604020202020204" pitchFamily="34" charset="0"/>
                        </a:rPr>
                        <a:t>78,6 %</a:t>
                      </a:r>
                    </a:p>
                  </a:txBody>
                  <a:tcPr marL="9525" marR="9525" marT="9525" marB="0" anchor="ctr"/>
                </a:tc>
                <a:extLst>
                  <a:ext uri="{0D108BD9-81ED-4DB2-BD59-A6C34878D82A}">
                    <a16:rowId xmlns:a16="http://schemas.microsoft.com/office/drawing/2014/main" val="1734177443"/>
                  </a:ext>
                </a:extLst>
              </a:tr>
            </a:tbl>
          </a:graphicData>
        </a:graphic>
      </p:graphicFrame>
    </p:spTree>
    <p:extLst>
      <p:ext uri="{BB962C8B-B14F-4D97-AF65-F5344CB8AC3E}">
        <p14:creationId xmlns:p14="http://schemas.microsoft.com/office/powerpoint/2010/main" val="3341939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970914" y="2256087"/>
            <a:ext cx="10967642" cy="224676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V ČR stále existuje značné množství obcí, zejména malých sídel v odlehlých částech více regionů, kde je proočkovanost populace podprůměrná, a to včetně populace seniorů. Tato situace se v čase postupně zlepšuje a počet rizikových oblastí klesá. </a:t>
            </a: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Potenciální problém představují zejména oblasti (ORP, okresy), kde je v těsné blízkosti takto kumulováno více sousedících obcí s nízkou proočkovaností populace. V těchto oblastech by při růstu epidemie na podzim mohlo docházet ke vzniku plošných ohnisek nákazy, včetně eskalace rizika zásahu zranitelných skupin. Z aktuálních dat se takto rizikově jeví zejména odlehlé oblasti moravských krajů.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e značn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07869" y="3056307"/>
            <a:ext cx="733425" cy="646331"/>
          </a:xfrm>
          <a:prstGeom prst="rect">
            <a:avLst/>
          </a:prstGeom>
          <a:solidFill>
            <a:srgbClr val="C00000"/>
          </a:solidFill>
        </p:spPr>
        <p:txBody>
          <a:bodyPr wrap="square" rtlCol="0">
            <a:spAutoFit/>
          </a:bodyPr>
          <a:lstStyle/>
          <a:p>
            <a:pPr algn="ctr"/>
            <a:r>
              <a:rPr lang="cs-CZ" sz="3600" b="1" dirty="0">
                <a:solidFill>
                  <a:schemeClr val="bg1"/>
                </a:solidFill>
              </a:rPr>
              <a:t>5.</a:t>
            </a:r>
          </a:p>
        </p:txBody>
      </p:sp>
      <p:sp>
        <p:nvSpPr>
          <p:cNvPr id="12" name="Šipka dolů 5">
            <a:extLst>
              <a:ext uri="{FF2B5EF4-FFF2-40B4-BE49-F238E27FC236}">
                <a16:creationId xmlns:a16="http://schemas.microsoft.com/office/drawing/2014/main" id="{902FC3E1-0405-49C2-A95C-429D795A0911}"/>
              </a:ext>
            </a:extLst>
          </p:cNvPr>
          <p:cNvSpPr/>
          <p:nvPr/>
        </p:nvSpPr>
        <p:spPr>
          <a:xfrm>
            <a:off x="5155175" y="4830436"/>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474582" y="5515878"/>
            <a:ext cx="11049120" cy="830997"/>
          </a:xfrm>
          <a:prstGeom prst="rect">
            <a:avLst/>
          </a:prstGeom>
          <a:noFill/>
        </p:spPr>
        <p:txBody>
          <a:bodyPr wrap="square" rtlCol="0">
            <a:spAutoFit/>
          </a:bodyPr>
          <a:lstStyle/>
          <a:p>
            <a:pPr algn="ctr"/>
            <a:r>
              <a:rPr lang="cs-CZ" sz="2400" i="1" dirty="0"/>
              <a:t>Posílení očkování v oblastech s nízkou proočkovaností, včetně malých sídel, je dalším krokem, který významně minimalizuje potenciál plošného šíření nákazy na podzim. </a:t>
            </a:r>
          </a:p>
        </p:txBody>
      </p:sp>
    </p:spTree>
    <p:extLst>
      <p:ext uri="{BB962C8B-B14F-4D97-AF65-F5344CB8AC3E}">
        <p14:creationId xmlns:p14="http://schemas.microsoft.com/office/powerpoint/2010/main" val="1007667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356FB0C6-404D-40E1-B9F9-2E6A7D8EA236}"/>
              </a:ext>
            </a:extLst>
          </p:cNvPr>
          <p:cNvPicPr>
            <a:picLocks noChangeAspect="1"/>
          </p:cNvPicPr>
          <p:nvPr/>
        </p:nvPicPr>
        <p:blipFill>
          <a:blip r:embed="rId3"/>
          <a:stretch>
            <a:fillRect/>
          </a:stretch>
        </p:blipFill>
        <p:spPr>
          <a:xfrm>
            <a:off x="0" y="576001"/>
            <a:ext cx="11629002" cy="6281999"/>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16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algn="ctr"/>
            <a:r>
              <a:rPr lang="cs-CZ" sz="1400" b="1" dirty="0">
                <a:solidFill>
                  <a:schemeClr val="bg1"/>
                </a:solidFill>
              </a:rPr>
              <a:t>Stav k </a:t>
            </a:r>
          </a:p>
          <a:p>
            <a:pPr algn="ctr"/>
            <a:r>
              <a:rPr lang="cs-CZ" sz="1400" b="1" dirty="0">
                <a:solidFill>
                  <a:schemeClr val="bg1"/>
                </a:solidFill>
              </a:rPr>
              <a:t>17. 9. 2021</a:t>
            </a:r>
          </a:p>
        </p:txBody>
      </p:sp>
      <p:sp>
        <p:nvSpPr>
          <p:cNvPr id="9" name="Obdélník 8">
            <a:extLst>
              <a:ext uri="{FF2B5EF4-FFF2-40B4-BE49-F238E27FC236}">
                <a16:creationId xmlns:a16="http://schemas.microsoft.com/office/drawing/2014/main" id="{C40225D3-DC79-429E-9E3D-91309D7ADA40}"/>
              </a:ext>
            </a:extLst>
          </p:cNvPr>
          <p:cNvSpPr/>
          <p:nvPr/>
        </p:nvSpPr>
        <p:spPr>
          <a:xfrm>
            <a:off x="9350574" y="1045331"/>
            <a:ext cx="2188420" cy="276999"/>
          </a:xfrm>
          <a:prstGeom prst="rect">
            <a:avLst/>
          </a:prstGeom>
        </p:spPr>
        <p:txBody>
          <a:bodyPr wrap="none">
            <a:spAutoFit/>
          </a:bodyPr>
          <a:lstStyle/>
          <a:p>
            <a:r>
              <a:rPr lang="cs-CZ" sz="1200" b="1" dirty="0"/>
              <a:t>Podíl očkovaných osob (%)</a:t>
            </a:r>
          </a:p>
        </p:txBody>
      </p:sp>
      <p:pic>
        <p:nvPicPr>
          <p:cNvPr id="10" name="Obrázek 9">
            <a:extLst>
              <a:ext uri="{FF2B5EF4-FFF2-40B4-BE49-F238E27FC236}">
                <a16:creationId xmlns:a16="http://schemas.microsoft.com/office/drawing/2014/main" id="{4A2DAB93-D997-4EEA-ADF6-06F236A87104}"/>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5681AE3D-D17A-4B8E-AA97-42CB7FC69463}"/>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52,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52,00 - 55,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56,00 - 5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60,00 - 63,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64,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Tree>
    <p:extLst>
      <p:ext uri="{BB962C8B-B14F-4D97-AF65-F5344CB8AC3E}">
        <p14:creationId xmlns:p14="http://schemas.microsoft.com/office/powerpoint/2010/main" val="14534982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ázek 6">
            <a:extLst>
              <a:ext uri="{FF2B5EF4-FFF2-40B4-BE49-F238E27FC236}">
                <a16:creationId xmlns:a16="http://schemas.microsoft.com/office/drawing/2014/main" id="{FA4DE0F6-330E-4E8D-B21B-495869FEA5E1}"/>
              </a:ext>
            </a:extLst>
          </p:cNvPr>
          <p:cNvPicPr>
            <a:picLocks noChangeAspect="1"/>
          </p:cNvPicPr>
          <p:nvPr/>
        </p:nvPicPr>
        <p:blipFill>
          <a:blip r:embed="rId3"/>
          <a:stretch>
            <a:fillRect/>
          </a:stretch>
        </p:blipFill>
        <p:spPr>
          <a:xfrm>
            <a:off x="0" y="576001"/>
            <a:ext cx="11620650" cy="6277487"/>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16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algn="ctr"/>
            <a:r>
              <a:rPr lang="cs-CZ" sz="1400" b="1" dirty="0">
                <a:solidFill>
                  <a:schemeClr val="bg1"/>
                </a:solidFill>
              </a:rPr>
              <a:t>Stav k </a:t>
            </a:r>
          </a:p>
          <a:p>
            <a:pPr algn="ctr"/>
            <a:r>
              <a:rPr lang="cs-CZ" sz="1400" b="1" dirty="0">
                <a:solidFill>
                  <a:schemeClr val="bg1"/>
                </a:solidFill>
              </a:rPr>
              <a:t>17. 9. 2021</a:t>
            </a:r>
          </a:p>
        </p:txBody>
      </p:sp>
      <p:sp>
        <p:nvSpPr>
          <p:cNvPr id="9" name="Obdélník 8">
            <a:extLst>
              <a:ext uri="{FF2B5EF4-FFF2-40B4-BE49-F238E27FC236}">
                <a16:creationId xmlns:a16="http://schemas.microsoft.com/office/drawing/2014/main" id="{C40225D3-DC79-429E-9E3D-91309D7ADA40}"/>
              </a:ext>
            </a:extLst>
          </p:cNvPr>
          <p:cNvSpPr/>
          <p:nvPr/>
        </p:nvSpPr>
        <p:spPr>
          <a:xfrm>
            <a:off x="9350574" y="1045331"/>
            <a:ext cx="2188420" cy="276999"/>
          </a:xfrm>
          <a:prstGeom prst="rect">
            <a:avLst/>
          </a:prstGeom>
        </p:spPr>
        <p:txBody>
          <a:bodyPr wrap="none">
            <a:spAutoFit/>
          </a:bodyPr>
          <a:lstStyle/>
          <a:p>
            <a:r>
              <a:rPr lang="cs-CZ" sz="1200" b="1" dirty="0"/>
              <a:t>Podíl očkovaných osob (%)</a:t>
            </a:r>
          </a:p>
        </p:txBody>
      </p:sp>
      <p:pic>
        <p:nvPicPr>
          <p:cNvPr id="10" name="Obrázek 9">
            <a:extLst>
              <a:ext uri="{FF2B5EF4-FFF2-40B4-BE49-F238E27FC236}">
                <a16:creationId xmlns:a16="http://schemas.microsoft.com/office/drawing/2014/main" id="{4A2DAB93-D997-4EEA-ADF6-06F236A87104}"/>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5681AE3D-D17A-4B8E-AA97-42CB7FC69463}"/>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52,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52,00 - 55,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56,00 - 5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60,00 - 63,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64,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
        <p:nvSpPr>
          <p:cNvPr id="4" name="Ovál 3">
            <a:extLst>
              <a:ext uri="{FF2B5EF4-FFF2-40B4-BE49-F238E27FC236}">
                <a16:creationId xmlns:a16="http://schemas.microsoft.com/office/drawing/2014/main" id="{07AC35AB-7A3C-4224-8AE1-E2671CD3C4C0}"/>
              </a:ext>
            </a:extLst>
          </p:cNvPr>
          <p:cNvSpPr/>
          <p:nvPr/>
        </p:nvSpPr>
        <p:spPr>
          <a:xfrm rot="20586233">
            <a:off x="3895754" y="5880226"/>
            <a:ext cx="865705" cy="68060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13" name="Ovál 12">
            <a:extLst>
              <a:ext uri="{FF2B5EF4-FFF2-40B4-BE49-F238E27FC236}">
                <a16:creationId xmlns:a16="http://schemas.microsoft.com/office/drawing/2014/main" id="{1C4F089F-CB53-4CEC-9A39-1552958666A0}"/>
              </a:ext>
            </a:extLst>
          </p:cNvPr>
          <p:cNvSpPr/>
          <p:nvPr/>
        </p:nvSpPr>
        <p:spPr>
          <a:xfrm rot="17325025">
            <a:off x="1385320" y="3290107"/>
            <a:ext cx="562740" cy="1064176"/>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18" name="Ovál 17">
            <a:extLst>
              <a:ext uri="{FF2B5EF4-FFF2-40B4-BE49-F238E27FC236}">
                <a16:creationId xmlns:a16="http://schemas.microsoft.com/office/drawing/2014/main" id="{EC073B69-0F9A-49C5-A99B-12B1BC7F4B3C}"/>
              </a:ext>
            </a:extLst>
          </p:cNvPr>
          <p:cNvSpPr/>
          <p:nvPr/>
        </p:nvSpPr>
        <p:spPr>
          <a:xfrm rot="20312213">
            <a:off x="7634025" y="5114274"/>
            <a:ext cx="719296" cy="467493"/>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19" name="Ovál 18">
            <a:extLst>
              <a:ext uri="{FF2B5EF4-FFF2-40B4-BE49-F238E27FC236}">
                <a16:creationId xmlns:a16="http://schemas.microsoft.com/office/drawing/2014/main" id="{DFBCABFC-FBB5-4272-BB07-21911D7E42CA}"/>
              </a:ext>
            </a:extLst>
          </p:cNvPr>
          <p:cNvSpPr/>
          <p:nvPr/>
        </p:nvSpPr>
        <p:spPr>
          <a:xfrm rot="4593573">
            <a:off x="6527792" y="5524853"/>
            <a:ext cx="754795" cy="871342"/>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1" name="Ovál 20">
            <a:extLst>
              <a:ext uri="{FF2B5EF4-FFF2-40B4-BE49-F238E27FC236}">
                <a16:creationId xmlns:a16="http://schemas.microsoft.com/office/drawing/2014/main" id="{33C87C8C-7540-47FB-83F7-DE43B3D6EB09}"/>
              </a:ext>
            </a:extLst>
          </p:cNvPr>
          <p:cNvSpPr/>
          <p:nvPr/>
        </p:nvSpPr>
        <p:spPr>
          <a:xfrm rot="3883980">
            <a:off x="7625141" y="3100376"/>
            <a:ext cx="789303" cy="1339398"/>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2" name="Ovál 21">
            <a:extLst>
              <a:ext uri="{FF2B5EF4-FFF2-40B4-BE49-F238E27FC236}">
                <a16:creationId xmlns:a16="http://schemas.microsoft.com/office/drawing/2014/main" id="{89325D2C-2B5B-4C77-B542-0F7F17C7372D}"/>
              </a:ext>
            </a:extLst>
          </p:cNvPr>
          <p:cNvSpPr/>
          <p:nvPr/>
        </p:nvSpPr>
        <p:spPr>
          <a:xfrm rot="19847785">
            <a:off x="8533635" y="2907366"/>
            <a:ext cx="564964" cy="1221000"/>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3" name="Ovál 22">
            <a:extLst>
              <a:ext uri="{FF2B5EF4-FFF2-40B4-BE49-F238E27FC236}">
                <a16:creationId xmlns:a16="http://schemas.microsoft.com/office/drawing/2014/main" id="{5D6CD8FD-096C-4D5E-904A-D17144AD1E61}"/>
              </a:ext>
            </a:extLst>
          </p:cNvPr>
          <p:cNvSpPr/>
          <p:nvPr/>
        </p:nvSpPr>
        <p:spPr>
          <a:xfrm rot="19821519">
            <a:off x="10136833" y="3871805"/>
            <a:ext cx="616719" cy="81302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4" name="Ovál 23">
            <a:extLst>
              <a:ext uri="{FF2B5EF4-FFF2-40B4-BE49-F238E27FC236}">
                <a16:creationId xmlns:a16="http://schemas.microsoft.com/office/drawing/2014/main" id="{186552C9-7661-4DCD-9FFE-1A8F89F5F8AD}"/>
              </a:ext>
            </a:extLst>
          </p:cNvPr>
          <p:cNvSpPr/>
          <p:nvPr/>
        </p:nvSpPr>
        <p:spPr>
          <a:xfrm rot="2069632">
            <a:off x="9026269" y="3875069"/>
            <a:ext cx="721251" cy="636841"/>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6" name="Ovál 25">
            <a:extLst>
              <a:ext uri="{FF2B5EF4-FFF2-40B4-BE49-F238E27FC236}">
                <a16:creationId xmlns:a16="http://schemas.microsoft.com/office/drawing/2014/main" id="{9B10F49F-9C7F-42EE-94F0-76696169DAD7}"/>
              </a:ext>
            </a:extLst>
          </p:cNvPr>
          <p:cNvSpPr/>
          <p:nvPr/>
        </p:nvSpPr>
        <p:spPr>
          <a:xfrm rot="19284110">
            <a:off x="7883188" y="2251281"/>
            <a:ext cx="688273" cy="102765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7" name="Ovál 26">
            <a:extLst>
              <a:ext uri="{FF2B5EF4-FFF2-40B4-BE49-F238E27FC236}">
                <a16:creationId xmlns:a16="http://schemas.microsoft.com/office/drawing/2014/main" id="{17A33E6A-79CE-4F96-9877-4A5E53E85D08}"/>
              </a:ext>
            </a:extLst>
          </p:cNvPr>
          <p:cNvSpPr/>
          <p:nvPr/>
        </p:nvSpPr>
        <p:spPr>
          <a:xfrm rot="1302254">
            <a:off x="8008192" y="4621097"/>
            <a:ext cx="872066" cy="53708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0" name="Ovál 19">
            <a:extLst>
              <a:ext uri="{FF2B5EF4-FFF2-40B4-BE49-F238E27FC236}">
                <a16:creationId xmlns:a16="http://schemas.microsoft.com/office/drawing/2014/main" id="{FA9195AD-378E-409B-A09E-7AFDA695FC41}"/>
              </a:ext>
            </a:extLst>
          </p:cNvPr>
          <p:cNvSpPr/>
          <p:nvPr/>
        </p:nvSpPr>
        <p:spPr>
          <a:xfrm rot="2187176">
            <a:off x="7363300" y="2718127"/>
            <a:ext cx="574884" cy="119571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8" name="Ovál 27">
            <a:extLst>
              <a:ext uri="{FF2B5EF4-FFF2-40B4-BE49-F238E27FC236}">
                <a16:creationId xmlns:a16="http://schemas.microsoft.com/office/drawing/2014/main" id="{41D1762C-0EB0-4924-AF24-ECF9FDB000D9}"/>
              </a:ext>
            </a:extLst>
          </p:cNvPr>
          <p:cNvSpPr/>
          <p:nvPr/>
        </p:nvSpPr>
        <p:spPr>
          <a:xfrm rot="1740866">
            <a:off x="9367653" y="4323237"/>
            <a:ext cx="589703" cy="125211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5" name="Ovál 24">
            <a:extLst>
              <a:ext uri="{FF2B5EF4-FFF2-40B4-BE49-F238E27FC236}">
                <a16:creationId xmlns:a16="http://schemas.microsoft.com/office/drawing/2014/main" id="{B95FAD5C-2693-43BE-8951-0031DF9ACE3E}"/>
              </a:ext>
            </a:extLst>
          </p:cNvPr>
          <p:cNvSpPr/>
          <p:nvPr/>
        </p:nvSpPr>
        <p:spPr>
          <a:xfrm rot="17862258">
            <a:off x="1590920" y="3882307"/>
            <a:ext cx="673558" cy="1067061"/>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29" name="Ovál 28">
            <a:extLst>
              <a:ext uri="{FF2B5EF4-FFF2-40B4-BE49-F238E27FC236}">
                <a16:creationId xmlns:a16="http://schemas.microsoft.com/office/drawing/2014/main" id="{A618958D-7CA7-44C3-8E63-8D05D2E224A9}"/>
              </a:ext>
            </a:extLst>
          </p:cNvPr>
          <p:cNvSpPr/>
          <p:nvPr/>
        </p:nvSpPr>
        <p:spPr>
          <a:xfrm rot="3133033">
            <a:off x="1213768" y="1912344"/>
            <a:ext cx="379772" cy="1189167"/>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0" name="Ovál 29">
            <a:extLst>
              <a:ext uri="{FF2B5EF4-FFF2-40B4-BE49-F238E27FC236}">
                <a16:creationId xmlns:a16="http://schemas.microsoft.com/office/drawing/2014/main" id="{0529D0CD-E71F-4F2B-8B42-DFF12E8D6F8B}"/>
              </a:ext>
            </a:extLst>
          </p:cNvPr>
          <p:cNvSpPr/>
          <p:nvPr/>
        </p:nvSpPr>
        <p:spPr>
          <a:xfrm rot="989510">
            <a:off x="5082091" y="955527"/>
            <a:ext cx="600479" cy="29193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1" name="Ovál 30">
            <a:extLst>
              <a:ext uri="{FF2B5EF4-FFF2-40B4-BE49-F238E27FC236}">
                <a16:creationId xmlns:a16="http://schemas.microsoft.com/office/drawing/2014/main" id="{B4F8DA78-77CB-47F9-85FD-2B4C1EA2992B}"/>
              </a:ext>
            </a:extLst>
          </p:cNvPr>
          <p:cNvSpPr/>
          <p:nvPr/>
        </p:nvSpPr>
        <p:spPr>
          <a:xfrm rot="323225">
            <a:off x="4030531" y="864139"/>
            <a:ext cx="600479" cy="29193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2" name="Ovál 31">
            <a:extLst>
              <a:ext uri="{FF2B5EF4-FFF2-40B4-BE49-F238E27FC236}">
                <a16:creationId xmlns:a16="http://schemas.microsoft.com/office/drawing/2014/main" id="{8DECB618-BD91-46F7-9927-00D144F603FF}"/>
              </a:ext>
            </a:extLst>
          </p:cNvPr>
          <p:cNvSpPr/>
          <p:nvPr/>
        </p:nvSpPr>
        <p:spPr>
          <a:xfrm rot="2770861">
            <a:off x="5681853" y="1792102"/>
            <a:ext cx="803185" cy="439986"/>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3" name="Ovál 32">
            <a:extLst>
              <a:ext uri="{FF2B5EF4-FFF2-40B4-BE49-F238E27FC236}">
                <a16:creationId xmlns:a16="http://schemas.microsoft.com/office/drawing/2014/main" id="{F1A95C57-2B89-4F67-A2D4-CCAFCAF88A2F}"/>
              </a:ext>
            </a:extLst>
          </p:cNvPr>
          <p:cNvSpPr/>
          <p:nvPr/>
        </p:nvSpPr>
        <p:spPr>
          <a:xfrm>
            <a:off x="4181349" y="1644719"/>
            <a:ext cx="914901" cy="51952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5" name="Ovál 34">
            <a:extLst>
              <a:ext uri="{FF2B5EF4-FFF2-40B4-BE49-F238E27FC236}">
                <a16:creationId xmlns:a16="http://schemas.microsoft.com/office/drawing/2014/main" id="{C7FBDA8C-FB29-495D-941B-057367459C2B}"/>
              </a:ext>
            </a:extLst>
          </p:cNvPr>
          <p:cNvSpPr/>
          <p:nvPr/>
        </p:nvSpPr>
        <p:spPr>
          <a:xfrm rot="20312213">
            <a:off x="8551534" y="5687143"/>
            <a:ext cx="838097" cy="37753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6" name="Ovál 35">
            <a:extLst>
              <a:ext uri="{FF2B5EF4-FFF2-40B4-BE49-F238E27FC236}">
                <a16:creationId xmlns:a16="http://schemas.microsoft.com/office/drawing/2014/main" id="{FD14F9F0-D172-4E63-9EE9-6CBC27EF1182}"/>
              </a:ext>
            </a:extLst>
          </p:cNvPr>
          <p:cNvSpPr/>
          <p:nvPr/>
        </p:nvSpPr>
        <p:spPr>
          <a:xfrm rot="18687976">
            <a:off x="2783120" y="1935903"/>
            <a:ext cx="811075" cy="435167"/>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7" name="Ovál 36">
            <a:extLst>
              <a:ext uri="{FF2B5EF4-FFF2-40B4-BE49-F238E27FC236}">
                <a16:creationId xmlns:a16="http://schemas.microsoft.com/office/drawing/2014/main" id="{691A4411-1B83-4F77-A71C-464C373E62C5}"/>
              </a:ext>
            </a:extLst>
          </p:cNvPr>
          <p:cNvSpPr/>
          <p:nvPr/>
        </p:nvSpPr>
        <p:spPr>
          <a:xfrm rot="18190900">
            <a:off x="5654972" y="5185540"/>
            <a:ext cx="597362" cy="921043"/>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8" name="Ovál 37">
            <a:extLst>
              <a:ext uri="{FF2B5EF4-FFF2-40B4-BE49-F238E27FC236}">
                <a16:creationId xmlns:a16="http://schemas.microsoft.com/office/drawing/2014/main" id="{70FA7B0C-4500-4DA8-8272-8929B24F0B65}"/>
              </a:ext>
            </a:extLst>
          </p:cNvPr>
          <p:cNvSpPr/>
          <p:nvPr/>
        </p:nvSpPr>
        <p:spPr>
          <a:xfrm rot="1584540">
            <a:off x="5234012" y="2291678"/>
            <a:ext cx="600479" cy="387166"/>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39" name="Ovál 38">
            <a:extLst>
              <a:ext uri="{FF2B5EF4-FFF2-40B4-BE49-F238E27FC236}">
                <a16:creationId xmlns:a16="http://schemas.microsoft.com/office/drawing/2014/main" id="{970E46AE-7D93-4FA5-A2F5-E995F8EAA228}"/>
              </a:ext>
            </a:extLst>
          </p:cNvPr>
          <p:cNvSpPr/>
          <p:nvPr/>
        </p:nvSpPr>
        <p:spPr>
          <a:xfrm rot="1753858">
            <a:off x="8702855" y="4513606"/>
            <a:ext cx="850905" cy="4952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
        <p:nvSpPr>
          <p:cNvPr id="40" name="Ovál 39">
            <a:extLst>
              <a:ext uri="{FF2B5EF4-FFF2-40B4-BE49-F238E27FC236}">
                <a16:creationId xmlns:a16="http://schemas.microsoft.com/office/drawing/2014/main" id="{0A25190F-69A3-45DF-8514-2ECD321BE43B}"/>
              </a:ext>
            </a:extLst>
          </p:cNvPr>
          <p:cNvSpPr/>
          <p:nvPr/>
        </p:nvSpPr>
        <p:spPr>
          <a:xfrm rot="6312015">
            <a:off x="6667000" y="2758116"/>
            <a:ext cx="695330" cy="533330"/>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cs-CZ" sz="800" b="1" dirty="0">
              <a:solidFill>
                <a:srgbClr val="00FF00"/>
              </a:solidFill>
            </a:endParaRPr>
          </a:p>
        </p:txBody>
      </p:sp>
    </p:spTree>
    <p:extLst>
      <p:ext uri="{BB962C8B-B14F-4D97-AF65-F5344CB8AC3E}">
        <p14:creationId xmlns:p14="http://schemas.microsoft.com/office/powerpoint/2010/main" val="799801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FE7DCA2E-EE9A-463C-A064-B11D4B2D6A7B}"/>
              </a:ext>
            </a:extLst>
          </p:cNvPr>
          <p:cNvPicPr>
            <a:picLocks noChangeAspect="1"/>
          </p:cNvPicPr>
          <p:nvPr/>
        </p:nvPicPr>
        <p:blipFill>
          <a:blip r:embed="rId3"/>
          <a:stretch>
            <a:fillRect/>
          </a:stretch>
        </p:blipFill>
        <p:spPr>
          <a:xfrm>
            <a:off x="1" y="576001"/>
            <a:ext cx="11629002" cy="6281999"/>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60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algn="ctr"/>
            <a:r>
              <a:rPr lang="cs-CZ" sz="1400" b="1" dirty="0">
                <a:solidFill>
                  <a:schemeClr val="bg1"/>
                </a:solidFill>
              </a:rPr>
              <a:t>Stav k </a:t>
            </a:r>
          </a:p>
          <a:p>
            <a:pPr algn="ctr"/>
            <a:r>
              <a:rPr lang="cs-CZ" sz="1400" b="1" dirty="0">
                <a:solidFill>
                  <a:schemeClr val="bg1"/>
                </a:solidFill>
              </a:rPr>
              <a:t>17. 9. 2021</a:t>
            </a:r>
          </a:p>
        </p:txBody>
      </p:sp>
      <p:sp>
        <p:nvSpPr>
          <p:cNvPr id="9" name="Obdélník 8">
            <a:extLst>
              <a:ext uri="{FF2B5EF4-FFF2-40B4-BE49-F238E27FC236}">
                <a16:creationId xmlns:a16="http://schemas.microsoft.com/office/drawing/2014/main" id="{0460B3C2-5413-462F-940C-0A7AA6AF91D0}"/>
              </a:ext>
            </a:extLst>
          </p:cNvPr>
          <p:cNvSpPr/>
          <p:nvPr/>
        </p:nvSpPr>
        <p:spPr>
          <a:xfrm>
            <a:off x="9350574" y="1045331"/>
            <a:ext cx="2188420" cy="276999"/>
          </a:xfrm>
          <a:prstGeom prst="rect">
            <a:avLst/>
          </a:prstGeom>
        </p:spPr>
        <p:txBody>
          <a:bodyPr wrap="none">
            <a:spAutoFit/>
          </a:bodyPr>
          <a:lstStyle/>
          <a:p>
            <a:r>
              <a:rPr lang="cs-CZ" sz="1200" b="1" dirty="0"/>
              <a:t>Podíl očkovaných osob (%)</a:t>
            </a:r>
          </a:p>
        </p:txBody>
      </p:sp>
      <p:pic>
        <p:nvPicPr>
          <p:cNvPr id="10" name="Obrázek 9">
            <a:extLst>
              <a:ext uri="{FF2B5EF4-FFF2-40B4-BE49-F238E27FC236}">
                <a16:creationId xmlns:a16="http://schemas.microsoft.com/office/drawing/2014/main" id="{AE629004-F1F0-4526-9639-0EF090BE594D}"/>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96DF4556-C51C-4878-849C-6165548303FF}"/>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70,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70,00 - 74,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75,00 - 7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80,00 - 84,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85,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Tree>
    <p:extLst>
      <p:ext uri="{BB962C8B-B14F-4D97-AF65-F5344CB8AC3E}">
        <p14:creationId xmlns:p14="http://schemas.microsoft.com/office/powerpoint/2010/main" val="1113269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ázek 5">
            <a:extLst>
              <a:ext uri="{FF2B5EF4-FFF2-40B4-BE49-F238E27FC236}">
                <a16:creationId xmlns:a16="http://schemas.microsoft.com/office/drawing/2014/main" id="{C9CD87E1-26DB-44DB-8B29-23B662244B8F}"/>
              </a:ext>
            </a:extLst>
          </p:cNvPr>
          <p:cNvPicPr>
            <a:picLocks noChangeAspect="1"/>
          </p:cNvPicPr>
          <p:nvPr/>
        </p:nvPicPr>
        <p:blipFill>
          <a:blip r:embed="rId2"/>
          <a:stretch>
            <a:fillRect/>
          </a:stretch>
        </p:blipFill>
        <p:spPr>
          <a:xfrm>
            <a:off x="191148" y="1147169"/>
            <a:ext cx="9002268" cy="3906012"/>
          </a:xfrm>
          <a:prstGeom prst="rect">
            <a:avLst/>
          </a:prstGeom>
        </p:spPr>
      </p:pic>
      <p:sp>
        <p:nvSpPr>
          <p:cNvPr id="2" name="Nadpis 1">
            <a:extLst>
              <a:ext uri="{FF2B5EF4-FFF2-40B4-BE49-F238E27FC236}">
                <a16:creationId xmlns:a16="http://schemas.microsoft.com/office/drawing/2014/main" id="{FA62F1D2-ED3B-4B05-8AB5-7ACCECEFF222}"/>
              </a:ext>
            </a:extLst>
          </p:cNvPr>
          <p:cNvSpPr>
            <a:spLocks noGrp="1"/>
          </p:cNvSpPr>
          <p:nvPr>
            <p:ph type="title"/>
          </p:nvPr>
        </p:nvSpPr>
        <p:spPr>
          <a:xfrm>
            <a:off x="175099" y="2"/>
            <a:ext cx="10347758" cy="576000"/>
          </a:xfrm>
        </p:spPr>
        <p:txBody>
          <a:bodyPr/>
          <a:lstStyle/>
          <a:p>
            <a:r>
              <a:rPr lang="cs-CZ" sz="1800" dirty="0"/>
              <a:t>Zpomalení šíření infekce v důsledku snížení počtu vnímavých jedinců: modelová projekce</a:t>
            </a:r>
          </a:p>
        </p:txBody>
      </p:sp>
      <p:graphicFrame>
        <p:nvGraphicFramePr>
          <p:cNvPr id="5" name="Tabulka 10">
            <a:extLst>
              <a:ext uri="{FF2B5EF4-FFF2-40B4-BE49-F238E27FC236}">
                <a16:creationId xmlns:a16="http://schemas.microsoft.com/office/drawing/2014/main" id="{15DD0D57-A810-45FC-8E29-0146AAE4DCEB}"/>
              </a:ext>
            </a:extLst>
          </p:cNvPr>
          <p:cNvGraphicFramePr>
            <a:graphicFrameLocks noGrp="1"/>
          </p:cNvGraphicFramePr>
          <p:nvPr>
            <p:extLst>
              <p:ext uri="{D42A27DB-BD31-4B8C-83A1-F6EECF244321}">
                <p14:modId xmlns:p14="http://schemas.microsoft.com/office/powerpoint/2010/main" val="2459854060"/>
              </p:ext>
            </p:extLst>
          </p:nvPr>
        </p:nvGraphicFramePr>
        <p:xfrm>
          <a:off x="754145" y="4400082"/>
          <a:ext cx="8287972" cy="275016"/>
        </p:xfrm>
        <a:graphic>
          <a:graphicData uri="http://schemas.openxmlformats.org/drawingml/2006/table">
            <a:tbl>
              <a:tblPr firstRow="1" bandRow="1">
                <a:tableStyleId>{5C22544A-7EE6-4342-B048-85BDC9FD1C3A}</a:tableStyleId>
              </a:tblPr>
              <a:tblGrid>
                <a:gridCol w="591998">
                  <a:extLst>
                    <a:ext uri="{9D8B030D-6E8A-4147-A177-3AD203B41FA5}">
                      <a16:colId xmlns:a16="http://schemas.microsoft.com/office/drawing/2014/main" val="1448076295"/>
                    </a:ext>
                  </a:extLst>
                </a:gridCol>
                <a:gridCol w="591998">
                  <a:extLst>
                    <a:ext uri="{9D8B030D-6E8A-4147-A177-3AD203B41FA5}">
                      <a16:colId xmlns:a16="http://schemas.microsoft.com/office/drawing/2014/main" val="522117172"/>
                    </a:ext>
                  </a:extLst>
                </a:gridCol>
                <a:gridCol w="591998">
                  <a:extLst>
                    <a:ext uri="{9D8B030D-6E8A-4147-A177-3AD203B41FA5}">
                      <a16:colId xmlns:a16="http://schemas.microsoft.com/office/drawing/2014/main" val="81022479"/>
                    </a:ext>
                  </a:extLst>
                </a:gridCol>
                <a:gridCol w="591998">
                  <a:extLst>
                    <a:ext uri="{9D8B030D-6E8A-4147-A177-3AD203B41FA5}">
                      <a16:colId xmlns:a16="http://schemas.microsoft.com/office/drawing/2014/main" val="900389438"/>
                    </a:ext>
                  </a:extLst>
                </a:gridCol>
                <a:gridCol w="591998">
                  <a:extLst>
                    <a:ext uri="{9D8B030D-6E8A-4147-A177-3AD203B41FA5}">
                      <a16:colId xmlns:a16="http://schemas.microsoft.com/office/drawing/2014/main" val="4186132309"/>
                    </a:ext>
                  </a:extLst>
                </a:gridCol>
                <a:gridCol w="591998">
                  <a:extLst>
                    <a:ext uri="{9D8B030D-6E8A-4147-A177-3AD203B41FA5}">
                      <a16:colId xmlns:a16="http://schemas.microsoft.com/office/drawing/2014/main" val="3382968639"/>
                    </a:ext>
                  </a:extLst>
                </a:gridCol>
                <a:gridCol w="591998">
                  <a:extLst>
                    <a:ext uri="{9D8B030D-6E8A-4147-A177-3AD203B41FA5}">
                      <a16:colId xmlns:a16="http://schemas.microsoft.com/office/drawing/2014/main" val="3321566055"/>
                    </a:ext>
                  </a:extLst>
                </a:gridCol>
                <a:gridCol w="591998">
                  <a:extLst>
                    <a:ext uri="{9D8B030D-6E8A-4147-A177-3AD203B41FA5}">
                      <a16:colId xmlns:a16="http://schemas.microsoft.com/office/drawing/2014/main" val="1650665797"/>
                    </a:ext>
                  </a:extLst>
                </a:gridCol>
                <a:gridCol w="591998">
                  <a:extLst>
                    <a:ext uri="{9D8B030D-6E8A-4147-A177-3AD203B41FA5}">
                      <a16:colId xmlns:a16="http://schemas.microsoft.com/office/drawing/2014/main" val="2879972236"/>
                    </a:ext>
                  </a:extLst>
                </a:gridCol>
                <a:gridCol w="591998">
                  <a:extLst>
                    <a:ext uri="{9D8B030D-6E8A-4147-A177-3AD203B41FA5}">
                      <a16:colId xmlns:a16="http://schemas.microsoft.com/office/drawing/2014/main" val="1194269133"/>
                    </a:ext>
                  </a:extLst>
                </a:gridCol>
                <a:gridCol w="591998">
                  <a:extLst>
                    <a:ext uri="{9D8B030D-6E8A-4147-A177-3AD203B41FA5}">
                      <a16:colId xmlns:a16="http://schemas.microsoft.com/office/drawing/2014/main" val="1562465228"/>
                    </a:ext>
                  </a:extLst>
                </a:gridCol>
                <a:gridCol w="591998">
                  <a:extLst>
                    <a:ext uri="{9D8B030D-6E8A-4147-A177-3AD203B41FA5}">
                      <a16:colId xmlns:a16="http://schemas.microsoft.com/office/drawing/2014/main" val="2413365606"/>
                    </a:ext>
                  </a:extLst>
                </a:gridCol>
                <a:gridCol w="591998">
                  <a:extLst>
                    <a:ext uri="{9D8B030D-6E8A-4147-A177-3AD203B41FA5}">
                      <a16:colId xmlns:a16="http://schemas.microsoft.com/office/drawing/2014/main" val="2954741850"/>
                    </a:ext>
                  </a:extLst>
                </a:gridCol>
                <a:gridCol w="591998">
                  <a:extLst>
                    <a:ext uri="{9D8B030D-6E8A-4147-A177-3AD203B41FA5}">
                      <a16:colId xmlns:a16="http://schemas.microsoft.com/office/drawing/2014/main" val="3623388293"/>
                    </a:ext>
                  </a:extLst>
                </a:gridCol>
              </a:tblGrid>
              <a:tr h="275016">
                <a:tc>
                  <a:txBody>
                    <a:bodyPr/>
                    <a:lstStyle/>
                    <a:p>
                      <a:pPr algn="ctr" fontAlgn="b"/>
                      <a:r>
                        <a:rPr lang="cs-CZ" sz="1200" b="1" i="0" u="none" strike="noStrike" noProof="0" dirty="0">
                          <a:solidFill>
                            <a:schemeClr val="tx1"/>
                          </a:solidFill>
                          <a:effectLst/>
                          <a:latin typeface="Calibri" panose="020F0502020204030204" pitchFamily="34" charset="0"/>
                        </a:rPr>
                        <a:t>červene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srpe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zář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říje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listop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prosine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led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únor</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břez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dub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noProof="0" dirty="0">
                          <a:solidFill>
                            <a:srgbClr val="000000"/>
                          </a:solidFill>
                          <a:effectLst/>
                          <a:latin typeface="Calibri" panose="020F0502020204030204" pitchFamily="34" charset="0"/>
                        </a:rPr>
                        <a:t>květen</a:t>
                      </a:r>
                      <a:endParaRPr lang="cs-CZ" sz="1100" b="1" i="0" u="none" strike="noStrike" noProof="0"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červ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červe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srp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bl>
          </a:graphicData>
        </a:graphic>
      </p:graphicFrame>
      <p:sp>
        <p:nvSpPr>
          <p:cNvPr id="7" name="TextovéPole 6">
            <a:extLst>
              <a:ext uri="{FF2B5EF4-FFF2-40B4-BE49-F238E27FC236}">
                <a16:creationId xmlns:a16="http://schemas.microsoft.com/office/drawing/2014/main" id="{904F1CD9-2EB1-4F23-ABD5-6313403E78F1}"/>
              </a:ext>
            </a:extLst>
          </p:cNvPr>
          <p:cNvSpPr txBox="1"/>
          <p:nvPr/>
        </p:nvSpPr>
        <p:spPr>
          <a:xfrm>
            <a:off x="7214030" y="4715891"/>
            <a:ext cx="348486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Vakcinovaní včetně v minulosti infikovaných</a:t>
            </a:r>
          </a:p>
        </p:txBody>
      </p:sp>
      <p:sp>
        <p:nvSpPr>
          <p:cNvPr id="8" name="TextovéPole 7">
            <a:extLst>
              <a:ext uri="{FF2B5EF4-FFF2-40B4-BE49-F238E27FC236}">
                <a16:creationId xmlns:a16="http://schemas.microsoft.com/office/drawing/2014/main" id="{861F783C-7F71-4433-AE26-459A616AFA15}"/>
              </a:ext>
            </a:extLst>
          </p:cNvPr>
          <p:cNvSpPr txBox="1"/>
          <p:nvPr/>
        </p:nvSpPr>
        <p:spPr>
          <a:xfrm>
            <a:off x="191148" y="637191"/>
            <a:ext cx="93574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Modelová predikce stavů v populaci v čase kalkulující </a:t>
            </a:r>
            <a:b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s rychlým postupem vakcinace (optimistická projekce)</a:t>
            </a:r>
          </a:p>
        </p:txBody>
      </p:sp>
      <p:sp>
        <p:nvSpPr>
          <p:cNvPr id="9" name="TextovéPole 8"/>
          <p:cNvSpPr txBox="1"/>
          <p:nvPr/>
        </p:nvSpPr>
        <p:spPr>
          <a:xfrm>
            <a:off x="175099" y="5073578"/>
            <a:ext cx="1171210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I při optimistických scénářích modelů je nutné počítat s cca 25% podílem populace, která je a zůstane primárně vnímavá k infekci. </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Riziko částečného zhoršení vývoje tedy stále není nulové, zejména s ohledem na možné zavlečení nových variant viru. Na podzim nelze vyloučit vznik plošně rizikových ohnisek nebo větších clusterů. Postupující vakcinace snižuje počet citlivých osob, nyní již i v relativně mladých věkových kategoriích. Očkování je účinnou ochranou nejen proti nákaze samotné, ale zejména proti těžkému průběhu onemocnění, z tohoto důvodu je možné s vysokou pravděpodobností očekávat nízkou zátěž nemocnic. </a:t>
            </a:r>
          </a:p>
        </p:txBody>
      </p:sp>
      <p:sp>
        <p:nvSpPr>
          <p:cNvPr id="4" name="TextovéPole 3">
            <a:extLst>
              <a:ext uri="{FF2B5EF4-FFF2-40B4-BE49-F238E27FC236}">
                <a16:creationId xmlns:a16="http://schemas.microsoft.com/office/drawing/2014/main" id="{0357F30B-808D-459C-A262-AB2CC8709E8A}"/>
              </a:ext>
            </a:extLst>
          </p:cNvPr>
          <p:cNvSpPr txBox="1"/>
          <p:nvPr/>
        </p:nvSpPr>
        <p:spPr>
          <a:xfrm>
            <a:off x="9100455" y="3569085"/>
            <a:ext cx="2844803" cy="830997"/>
          </a:xfrm>
          <a:prstGeom prst="rect">
            <a:avLst/>
          </a:prstGeom>
          <a:noFill/>
        </p:spPr>
        <p:txBody>
          <a:bodyPr wrap="square" rtlCol="0">
            <a:spAutoFit/>
          </a:bodyPr>
          <a:lstStyle/>
          <a:p>
            <a:r>
              <a:rPr lang="cs-CZ" sz="1600" b="1" dirty="0">
                <a:solidFill>
                  <a:srgbClr val="0000FF"/>
                </a:solidFill>
              </a:rPr>
              <a:t>Situace na počátku září je v podstatě neměnná, rychlost očkování 1. dávkami neposiluje</a:t>
            </a:r>
          </a:p>
        </p:txBody>
      </p:sp>
    </p:spTree>
    <p:extLst>
      <p:ext uri="{BB962C8B-B14F-4D97-AF65-F5344CB8AC3E}">
        <p14:creationId xmlns:p14="http://schemas.microsoft.com/office/powerpoint/2010/main" val="4158596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Modelové predikce dle různých scénářů kalkulujících s různým postupem vakcinace</a:t>
            </a:r>
            <a:endParaRPr lang="cs-CZ" sz="4200" i="1" dirty="0"/>
          </a:p>
        </p:txBody>
      </p:sp>
    </p:spTree>
    <p:extLst>
      <p:ext uri="{BB962C8B-B14F-4D97-AF65-F5344CB8AC3E}">
        <p14:creationId xmlns:p14="http://schemas.microsoft.com/office/powerpoint/2010/main" val="3619103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SOUHRN </a:t>
            </a:r>
            <a:endParaRPr lang="cs-CZ" sz="4200" i="1" dirty="0"/>
          </a:p>
        </p:txBody>
      </p:sp>
    </p:spTree>
    <p:extLst>
      <p:ext uri="{BB962C8B-B14F-4D97-AF65-F5344CB8AC3E}">
        <p14:creationId xmlns:p14="http://schemas.microsoft.com/office/powerpoint/2010/main" val="1885530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23898"/>
            <a:ext cx="11886453"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i="1" u="none" strike="noStrike" kern="0" cap="none" spc="0" normalizeH="0" baseline="0" noProof="0" dirty="0">
                <a:ln>
                  <a:noFill/>
                </a:ln>
                <a:solidFill>
                  <a:srgbClr val="000000"/>
                </a:solidFill>
                <a:effectLst/>
                <a:uLnTx/>
                <a:uFillTx/>
                <a:latin typeface="Arial" panose="020B0604020202020204"/>
                <a:ea typeface="+mn-ea"/>
                <a:cs typeface="+mn-cs"/>
              </a:rPr>
              <a:t>Dlouhodobé predikce vychází z původního modelu SEIR, který byl pro epidemii COVID-19 v ČR adaptován na počátku dubna 2020. </a:t>
            </a:r>
            <a:r>
              <a:rPr kumimoji="0" lang="cs-CZ" sz="2200" i="1" u="none" strike="noStrike" kern="0" cap="none" spc="0" normalizeH="0" baseline="0" noProof="0" dirty="0">
                <a:ln>
                  <a:noFill/>
                </a:ln>
                <a:solidFill>
                  <a:prstClr val="black"/>
                </a:solidFill>
                <a:effectLst/>
                <a:uLnTx/>
                <a:uFillTx/>
                <a:latin typeface="Arial" panose="020B0604020202020204"/>
                <a:ea typeface="+mn-ea"/>
                <a:cs typeface="+mn-cs"/>
              </a:rPr>
              <a:t>Predikce pro rizikový vývoj vyvolaný nárůstem rizikových kontaktů nebo zvýšením reprodukční dynamiky nákazy (virtuální efekt případného opětovného uvolnění nebo efekt šíření nakažlivějších forem viru). </a:t>
            </a:r>
          </a:p>
        </p:txBody>
      </p:sp>
      <p:sp>
        <p:nvSpPr>
          <p:cNvPr id="5" name="Šipka dolů 4"/>
          <p:cNvSpPr/>
          <p:nvPr/>
        </p:nvSpPr>
        <p:spPr>
          <a:xfrm>
            <a:off x="5004226" y="6248477"/>
            <a:ext cx="1626932"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p:cNvSpPr/>
          <p:nvPr/>
        </p:nvSpPr>
        <p:spPr>
          <a:xfrm>
            <a:off x="195887" y="2226121"/>
            <a:ext cx="11537661"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dirty="0">
                <a:ln>
                  <a:noFill/>
                </a:ln>
                <a:solidFill>
                  <a:srgbClr val="000000"/>
                </a:solidFill>
                <a:effectLst/>
                <a:uLnTx/>
                <a:uFillTx/>
                <a:latin typeface="Arial" panose="020B0604020202020204"/>
                <a:ea typeface="+mn-ea"/>
                <a:cs typeface="+mn-cs"/>
              </a:rPr>
              <a:t>Model byl na počátku roku 2021 doplněn o komponentu Vakcinace (Model SEIR</a:t>
            </a:r>
            <a:r>
              <a:rPr kumimoji="0" lang="cs-CZ" sz="2000" b="1" i="0" u="sng" strike="noStrike" kern="0" cap="none" spc="0" normalizeH="0" baseline="0" noProof="0" dirty="0">
                <a:ln>
                  <a:noFill/>
                </a:ln>
                <a:solidFill>
                  <a:srgbClr val="000000"/>
                </a:solidFill>
                <a:effectLst/>
                <a:uLnTx/>
                <a:uFillTx/>
                <a:latin typeface="Arial" panose="020B0604020202020204"/>
                <a:ea typeface="+mn-ea"/>
                <a:cs typeface="+mn-cs"/>
              </a:rPr>
              <a:t>V</a:t>
            </a:r>
            <a:r>
              <a:rPr kumimoji="0" lang="cs-CZ" sz="2000" b="1" i="0" u="none" strike="noStrike" kern="0" cap="none" spc="0" normalizeH="0" baseline="0" noProof="0" dirty="0">
                <a:ln>
                  <a:noFill/>
                </a:ln>
                <a:solidFill>
                  <a:srgbClr val="000000"/>
                </a:solidFill>
                <a:effectLst/>
                <a:uLnTx/>
                <a:uFillTx/>
                <a:latin typeface="Arial" panose="020B0604020202020204"/>
                <a:ea typeface="+mn-ea"/>
                <a:cs typeface="+mn-cs"/>
              </a:rPr>
              <a:t>) – tedy stav po očkování, přičemž predikce pracují s různě nastavitelným ochranným efektem vakcinace (plná ochrana již s odstupem po 1. dávce je nejvýznamnější efekt), s možnou ztrátou ochrany v čase nebo v důsledku šíření nových nakažlivějších variant viru. </a:t>
            </a:r>
          </a:p>
        </p:txBody>
      </p:sp>
      <p:sp>
        <p:nvSpPr>
          <p:cNvPr id="6" name="Obdélník 5"/>
          <p:cNvSpPr/>
          <p:nvPr/>
        </p:nvSpPr>
        <p:spPr>
          <a:xfrm>
            <a:off x="14457" y="3775939"/>
            <a:ext cx="11606471" cy="23083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Modely uvažují věkově specifické počty vakcinovaný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dle reálných dat ISIN a dle nich pracují s projekcí počtu očkovaných pro budoucí simulace. Jedinec dosáhne ochrany před nákazou až s časovým odstupem po druhé dávce (pomalý scénář) nebo při první dávce (rychlý scénář), přičemž se předpokládá i ochrana před možností přenášet infekci. Jedinci přecházejí ze stavů S a R proporčně do stavu V (očkovaní jsou i jedinci s prodělanou infekcí v minulosti – tyto skupiny nejsou vzájemně </a:t>
            </a:r>
            <a:r>
              <a:rPr kumimoji="0" lang="cs-CZ" sz="1800" b="0" i="0" u="none" strike="noStrike" kern="1200" cap="none" spc="0" normalizeH="0" baseline="0" noProof="0" dirty="0" err="1">
                <a:ln>
                  <a:noFill/>
                </a:ln>
                <a:solidFill>
                  <a:srgbClr val="000000"/>
                </a:solidFill>
                <a:effectLst/>
                <a:uLnTx/>
                <a:uFillTx/>
                <a:latin typeface="Arial" panose="020B0604020202020204"/>
                <a:ea typeface="+mn-ea"/>
                <a:cs typeface="+mn-cs"/>
              </a:rPr>
              <a:t>disjuktní</a:t>
            </a: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 Různé scénáře simulují podmínky šíření Delta varianty viru během letních měsíců (simulace byla zahájena pro významný start šíření po 20.6.). </a:t>
            </a:r>
            <a:r>
              <a:rPr lang="cs-CZ" dirty="0">
                <a:solidFill>
                  <a:srgbClr val="000000"/>
                </a:solidFill>
                <a:latin typeface="Arial" panose="020B0604020202020204"/>
              </a:rPr>
              <a:t>Navazující pravděpodobnostní a stavové modely predikují z vývoje prevalenční zátěže riziko zátěže nemocnic – do těchto modelů vstupují i rizikové faktory související se zranitelností různých skupin populace. </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Šipka dolů 4">
            <a:extLst>
              <a:ext uri="{FF2B5EF4-FFF2-40B4-BE49-F238E27FC236}">
                <a16:creationId xmlns:a16="http://schemas.microsoft.com/office/drawing/2014/main" id="{902FF170-127D-4BBB-9AB4-F9DB6E719F36}"/>
              </a:ext>
            </a:extLst>
          </p:cNvPr>
          <p:cNvSpPr/>
          <p:nvPr/>
        </p:nvSpPr>
        <p:spPr>
          <a:xfrm>
            <a:off x="5004227" y="1686787"/>
            <a:ext cx="1626932"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117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ovéPole 23">
            <a:extLst>
              <a:ext uri="{FF2B5EF4-FFF2-40B4-BE49-F238E27FC236}">
                <a16:creationId xmlns:a16="http://schemas.microsoft.com/office/drawing/2014/main" id="{8A6A1759-77AD-4B7F-98D8-D6E46F18384F}"/>
              </a:ext>
            </a:extLst>
          </p:cNvPr>
          <p:cNvSpPr txBox="1"/>
          <p:nvPr/>
        </p:nvSpPr>
        <p:spPr>
          <a:xfrm>
            <a:off x="1400971" y="151570"/>
            <a:ext cx="9229366" cy="707886"/>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chéma stavového modelu SEIR</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t>
            </a:r>
            <a:r>
              <a:rPr kumimoji="0" lang="cs-CZ"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o dlouhodobé simulace</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0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 </a:t>
            </a:r>
            <a:r>
              <a:rPr kumimoji="0" lang="en-US" sz="2000" b="1" i="0" u="sng"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opadem</a:t>
            </a:r>
            <a:r>
              <a:rPr kumimoji="0" lang="en-US" sz="20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a:t>
            </a:r>
            <a:r>
              <a:rPr kumimoji="0" lang="cs-CZ" sz="2000" b="1" i="0" u="sng"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čkování</a:t>
            </a:r>
            <a:endParaRPr kumimoji="0" lang="cs-CZ" sz="2200" b="1"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Obdélník 17">
            <a:extLst>
              <a:ext uri="{FF2B5EF4-FFF2-40B4-BE49-F238E27FC236}">
                <a16:creationId xmlns:a16="http://schemas.microsoft.com/office/drawing/2014/main" id="{2B04E69E-696B-426D-92D2-95AD65B197D7}"/>
              </a:ext>
            </a:extLst>
          </p:cNvPr>
          <p:cNvSpPr/>
          <p:nvPr/>
        </p:nvSpPr>
        <p:spPr>
          <a:xfrm>
            <a:off x="1082695" y="2710392"/>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náchylní jedinci</a:t>
            </a:r>
          </a:p>
        </p:txBody>
      </p:sp>
      <p:sp>
        <p:nvSpPr>
          <p:cNvPr id="19" name="Obdélník 18">
            <a:extLst>
              <a:ext uri="{FF2B5EF4-FFF2-40B4-BE49-F238E27FC236}">
                <a16:creationId xmlns:a16="http://schemas.microsoft.com/office/drawing/2014/main" id="{D063A768-01D3-4A56-8BBA-28DED35E1CE0}"/>
              </a:ext>
            </a:extLst>
          </p:cNvPr>
          <p:cNvSpPr/>
          <p:nvPr/>
        </p:nvSpPr>
        <p:spPr>
          <a:xfrm>
            <a:off x="3824400" y="2710392"/>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exponovaní jedinci</a:t>
            </a:r>
          </a:p>
        </p:txBody>
      </p:sp>
      <p:sp>
        <p:nvSpPr>
          <p:cNvPr id="20" name="Obdélník 19">
            <a:extLst>
              <a:ext uri="{FF2B5EF4-FFF2-40B4-BE49-F238E27FC236}">
                <a16:creationId xmlns:a16="http://schemas.microsoft.com/office/drawing/2014/main" id="{BADCA929-8F51-4A46-84F0-4EE1E7912B1C}"/>
              </a:ext>
            </a:extLst>
          </p:cNvPr>
          <p:cNvSpPr/>
          <p:nvPr/>
        </p:nvSpPr>
        <p:spPr>
          <a:xfrm>
            <a:off x="6566105" y="1689064"/>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I</a:t>
            </a:r>
            <a:r>
              <a:rPr kumimoji="0" lang="cs-CZ" sz="2400" b="0" i="0" u="none" strike="noStrike" kern="0" cap="none" spc="0" normalizeH="0" baseline="30000" noProof="0" dirty="0">
                <a:ln>
                  <a:noFill/>
                </a:ln>
                <a:solidFill>
                  <a:prstClr val="white"/>
                </a:solidFill>
                <a:effectLst/>
                <a:uLnTx/>
                <a:uFillTx/>
                <a:latin typeface="Calibri" panose="020F0502020204030204"/>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nfekční jedinci</a:t>
            </a:r>
            <a:b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b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příznaky</a:t>
            </a:r>
          </a:p>
        </p:txBody>
      </p:sp>
      <p:sp>
        <p:nvSpPr>
          <p:cNvPr id="21" name="Obdélník 20">
            <a:extLst>
              <a:ext uri="{FF2B5EF4-FFF2-40B4-BE49-F238E27FC236}">
                <a16:creationId xmlns:a16="http://schemas.microsoft.com/office/drawing/2014/main" id="{6AD42F47-49DC-4AF9-9274-1EA0FEA16506}"/>
              </a:ext>
            </a:extLst>
          </p:cNvPr>
          <p:cNvSpPr/>
          <p:nvPr/>
        </p:nvSpPr>
        <p:spPr>
          <a:xfrm>
            <a:off x="9439289" y="2701427"/>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zolovaní jedinci</a:t>
            </a:r>
          </a:p>
        </p:txBody>
      </p:sp>
      <p:sp>
        <p:nvSpPr>
          <p:cNvPr id="22" name="Šipka: doprava 44">
            <a:extLst>
              <a:ext uri="{FF2B5EF4-FFF2-40B4-BE49-F238E27FC236}">
                <a16:creationId xmlns:a16="http://schemas.microsoft.com/office/drawing/2014/main" id="{4C13D826-2505-4EE1-82AE-F4AB7726E1B5}"/>
              </a:ext>
            </a:extLst>
          </p:cNvPr>
          <p:cNvSpPr/>
          <p:nvPr/>
        </p:nvSpPr>
        <p:spPr>
          <a:xfrm>
            <a:off x="3134865" y="3033120"/>
            <a:ext cx="54684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B14B0F29-42EE-4449-8FA0-2FFCC0E7A5D6}"/>
              </a:ext>
            </a:extLst>
          </p:cNvPr>
          <p:cNvSpPr/>
          <p:nvPr/>
        </p:nvSpPr>
        <p:spPr>
          <a:xfrm>
            <a:off x="6566105" y="3736200"/>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I</a:t>
            </a:r>
            <a:r>
              <a:rPr kumimoji="0" lang="cs-CZ" sz="2400" b="0" i="0" u="none" strike="noStrike" kern="0" cap="none" spc="0" normalizeH="0" baseline="30000" noProof="0" dirty="0">
                <a:ln>
                  <a:noFill/>
                </a:ln>
                <a:solidFill>
                  <a:prstClr val="white"/>
                </a:solidFill>
                <a:effectLst/>
                <a:uLnTx/>
                <a:uFillTx/>
                <a:latin typeface="Calibri" panose="020F0502020204030204"/>
                <a:ea typeface="+mn-ea"/>
                <a:cs typeface="+mn-cs"/>
              </a:rPr>
              <a:t>S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nfekční jedinci</a:t>
            </a:r>
            <a:b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b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bezpříznakoví</a:t>
            </a:r>
          </a:p>
        </p:txBody>
      </p:sp>
      <p:sp>
        <p:nvSpPr>
          <p:cNvPr id="26" name="Šipka: doprava 46">
            <a:extLst>
              <a:ext uri="{FF2B5EF4-FFF2-40B4-BE49-F238E27FC236}">
                <a16:creationId xmlns:a16="http://schemas.microsoft.com/office/drawing/2014/main" id="{D213C4CF-884A-47FE-9932-16FB105C4037}"/>
              </a:ext>
            </a:extLst>
          </p:cNvPr>
          <p:cNvSpPr/>
          <p:nvPr/>
        </p:nvSpPr>
        <p:spPr>
          <a:xfrm>
            <a:off x="5827330" y="2015627"/>
            <a:ext cx="738776"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Šipka: doprava 47">
            <a:extLst>
              <a:ext uri="{FF2B5EF4-FFF2-40B4-BE49-F238E27FC236}">
                <a16:creationId xmlns:a16="http://schemas.microsoft.com/office/drawing/2014/main" id="{608B85F7-5E22-4599-8F4E-6A61635A808E}"/>
              </a:ext>
            </a:extLst>
          </p:cNvPr>
          <p:cNvSpPr/>
          <p:nvPr/>
        </p:nvSpPr>
        <p:spPr>
          <a:xfrm>
            <a:off x="5827328" y="4055094"/>
            <a:ext cx="73877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Obdélník 27">
            <a:extLst>
              <a:ext uri="{FF2B5EF4-FFF2-40B4-BE49-F238E27FC236}">
                <a16:creationId xmlns:a16="http://schemas.microsoft.com/office/drawing/2014/main" id="{A1F9FDF5-109A-473A-86F7-AE70B59EEBF0}"/>
              </a:ext>
            </a:extLst>
          </p:cNvPr>
          <p:cNvSpPr/>
          <p:nvPr/>
        </p:nvSpPr>
        <p:spPr>
          <a:xfrm>
            <a:off x="5827329" y="2118720"/>
            <a:ext cx="191929" cy="2214283"/>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Šipka: doprava 49">
            <a:extLst>
              <a:ext uri="{FF2B5EF4-FFF2-40B4-BE49-F238E27FC236}">
                <a16:creationId xmlns:a16="http://schemas.microsoft.com/office/drawing/2014/main" id="{10587047-838E-48F4-9F92-8CBF3AB25FF0}"/>
              </a:ext>
            </a:extLst>
          </p:cNvPr>
          <p:cNvSpPr/>
          <p:nvPr/>
        </p:nvSpPr>
        <p:spPr>
          <a:xfrm>
            <a:off x="8610864" y="2990538"/>
            <a:ext cx="73877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Obdélník 30">
            <a:extLst>
              <a:ext uri="{FF2B5EF4-FFF2-40B4-BE49-F238E27FC236}">
                <a16:creationId xmlns:a16="http://schemas.microsoft.com/office/drawing/2014/main" id="{054974A4-DA60-4490-9AAD-3973AAACF2C2}"/>
              </a:ext>
            </a:extLst>
          </p:cNvPr>
          <p:cNvSpPr/>
          <p:nvPr/>
        </p:nvSpPr>
        <p:spPr>
          <a:xfrm>
            <a:off x="8610865" y="2118720"/>
            <a:ext cx="191929" cy="2214283"/>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TextovéPole 31">
            <a:extLst>
              <a:ext uri="{FF2B5EF4-FFF2-40B4-BE49-F238E27FC236}">
                <a16:creationId xmlns:a16="http://schemas.microsoft.com/office/drawing/2014/main" id="{FE7E001D-0B75-40E0-AAE6-7132D90F7EA2}"/>
              </a:ext>
            </a:extLst>
          </p:cNvPr>
          <p:cNvSpPr txBox="1"/>
          <p:nvPr/>
        </p:nvSpPr>
        <p:spPr>
          <a:xfrm>
            <a:off x="729454" y="1430123"/>
            <a:ext cx="293513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infekčnost onemocnění</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četnost kontaktů</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díl infekčních jedinců </a:t>
            </a:r>
            <a:b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v populaci</a:t>
            </a:r>
          </a:p>
        </p:txBody>
      </p:sp>
      <p:sp>
        <p:nvSpPr>
          <p:cNvPr id="33" name="TextovéPole 32">
            <a:extLst>
              <a:ext uri="{FF2B5EF4-FFF2-40B4-BE49-F238E27FC236}">
                <a16:creationId xmlns:a16="http://schemas.microsoft.com/office/drawing/2014/main" id="{9F44768C-5FDA-4214-A558-285F9A9BD9CE}"/>
              </a:ext>
            </a:extLst>
          </p:cNvPr>
          <p:cNvSpPr txBox="1"/>
          <p:nvPr/>
        </p:nvSpPr>
        <p:spPr>
          <a:xfrm>
            <a:off x="3487540" y="1663657"/>
            <a:ext cx="293513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délka latentního období</a:t>
            </a:r>
            <a:b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 nákaze, před infekčností)</a:t>
            </a:r>
          </a:p>
        </p:txBody>
      </p:sp>
      <p:sp>
        <p:nvSpPr>
          <p:cNvPr id="34" name="TextovéPole 33">
            <a:extLst>
              <a:ext uri="{FF2B5EF4-FFF2-40B4-BE49-F238E27FC236}">
                <a16:creationId xmlns:a16="http://schemas.microsoft.com/office/drawing/2014/main" id="{F915E3A6-2C83-4C2A-9CE0-5284C9CD8F0D}"/>
              </a:ext>
            </a:extLst>
          </p:cNvPr>
          <p:cNvSpPr txBox="1"/>
          <p:nvPr/>
        </p:nvSpPr>
        <p:spPr>
          <a:xfrm>
            <a:off x="6326350" y="2755231"/>
            <a:ext cx="232485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díl bezpříznakových jedinců</a:t>
            </a:r>
          </a:p>
        </p:txBody>
      </p:sp>
      <p:sp>
        <p:nvSpPr>
          <p:cNvPr id="36" name="TextovéPole 35">
            <a:extLst>
              <a:ext uri="{FF2B5EF4-FFF2-40B4-BE49-F238E27FC236}">
                <a16:creationId xmlns:a16="http://schemas.microsoft.com/office/drawing/2014/main" id="{EC9FA024-5E59-4474-9F8F-D201213190EE}"/>
              </a:ext>
            </a:extLst>
          </p:cNvPr>
          <p:cNvSpPr txBox="1"/>
          <p:nvPr/>
        </p:nvSpPr>
        <p:spPr>
          <a:xfrm>
            <a:off x="8762459" y="1707122"/>
            <a:ext cx="232485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délka infekčního období/rychlost izolace</a:t>
            </a:r>
          </a:p>
        </p:txBody>
      </p:sp>
      <p:sp>
        <p:nvSpPr>
          <p:cNvPr id="37" name="TextovéPole 36">
            <a:extLst>
              <a:ext uri="{FF2B5EF4-FFF2-40B4-BE49-F238E27FC236}">
                <a16:creationId xmlns:a16="http://schemas.microsoft.com/office/drawing/2014/main" id="{03E6A01B-C785-4E5E-A264-0E817822A778}"/>
              </a:ext>
            </a:extLst>
          </p:cNvPr>
          <p:cNvSpPr txBox="1"/>
          <p:nvPr/>
        </p:nvSpPr>
        <p:spPr>
          <a:xfrm>
            <a:off x="6179868" y="932247"/>
            <a:ext cx="50740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D31145"/>
                </a:solidFill>
                <a:effectLst/>
                <a:uLnTx/>
                <a:uFillTx/>
                <a:latin typeface="Calibri" panose="020F0502020204030204"/>
                <a:ea typeface="+mn-ea"/>
                <a:cs typeface="+mn-cs"/>
              </a:rPr>
              <a:t>ZAPOČÍTÁNÍ MEZI PŘÍPADY (JEN SYMPTOMATIČTÍ)</a:t>
            </a:r>
          </a:p>
        </p:txBody>
      </p:sp>
      <p:sp>
        <p:nvSpPr>
          <p:cNvPr id="38" name="Šipka: dolů 56">
            <a:extLst>
              <a:ext uri="{FF2B5EF4-FFF2-40B4-BE49-F238E27FC236}">
                <a16:creationId xmlns:a16="http://schemas.microsoft.com/office/drawing/2014/main" id="{782C6E6F-542D-452F-93BB-94B4C05288A8}"/>
              </a:ext>
            </a:extLst>
          </p:cNvPr>
          <p:cNvSpPr/>
          <p:nvPr/>
        </p:nvSpPr>
        <p:spPr>
          <a:xfrm>
            <a:off x="8509197" y="1339569"/>
            <a:ext cx="415367" cy="367553"/>
          </a:xfrm>
          <a:prstGeom prst="downArrow">
            <a:avLst/>
          </a:prstGeom>
          <a:solidFill>
            <a:srgbClr val="D311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Obdélník 38">
            <a:extLst>
              <a:ext uri="{FF2B5EF4-FFF2-40B4-BE49-F238E27FC236}">
                <a16:creationId xmlns:a16="http://schemas.microsoft.com/office/drawing/2014/main" id="{DDCAC9A8-B998-4990-8433-32D07C5EAEB7}"/>
              </a:ext>
            </a:extLst>
          </p:cNvPr>
          <p:cNvSpPr/>
          <p:nvPr/>
        </p:nvSpPr>
        <p:spPr>
          <a:xfrm>
            <a:off x="9439289" y="4938026"/>
            <a:ext cx="1909483" cy="1013010"/>
          </a:xfrm>
          <a:prstGeom prst="rect">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očkovaní jedinci</a:t>
            </a:r>
          </a:p>
        </p:txBody>
      </p:sp>
      <p:sp>
        <p:nvSpPr>
          <p:cNvPr id="40" name="Šipka: doprava 20">
            <a:extLst>
              <a:ext uri="{FF2B5EF4-FFF2-40B4-BE49-F238E27FC236}">
                <a16:creationId xmlns:a16="http://schemas.microsoft.com/office/drawing/2014/main" id="{A41BEF73-7A63-410D-95FD-7BD1E2D4B038}"/>
              </a:ext>
            </a:extLst>
          </p:cNvPr>
          <p:cNvSpPr/>
          <p:nvPr/>
        </p:nvSpPr>
        <p:spPr>
          <a:xfrm>
            <a:off x="1804832" y="5210447"/>
            <a:ext cx="7525177" cy="367553"/>
          </a:xfrm>
          <a:prstGeom prst="rightArrow">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Šipka: doprava 21">
            <a:extLst>
              <a:ext uri="{FF2B5EF4-FFF2-40B4-BE49-F238E27FC236}">
                <a16:creationId xmlns:a16="http://schemas.microsoft.com/office/drawing/2014/main" id="{31B8BC44-7A01-4824-9AED-DF040E9F9BA2}"/>
              </a:ext>
            </a:extLst>
          </p:cNvPr>
          <p:cNvSpPr/>
          <p:nvPr/>
        </p:nvSpPr>
        <p:spPr>
          <a:xfrm rot="5400000">
            <a:off x="9887524" y="4124044"/>
            <a:ext cx="1013009" cy="367553"/>
          </a:xfrm>
          <a:prstGeom prst="rightArrow">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Obdélník 41">
            <a:extLst>
              <a:ext uri="{FF2B5EF4-FFF2-40B4-BE49-F238E27FC236}">
                <a16:creationId xmlns:a16="http://schemas.microsoft.com/office/drawing/2014/main" id="{74FC45F5-50A9-43F3-8CE1-BEE500BD193E}"/>
              </a:ext>
            </a:extLst>
          </p:cNvPr>
          <p:cNvSpPr/>
          <p:nvPr/>
        </p:nvSpPr>
        <p:spPr>
          <a:xfrm>
            <a:off x="1800678" y="3801316"/>
            <a:ext cx="191929" cy="1672140"/>
          </a:xfrm>
          <a:prstGeom prst="rect">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TextovéPole 42">
            <a:extLst>
              <a:ext uri="{FF2B5EF4-FFF2-40B4-BE49-F238E27FC236}">
                <a16:creationId xmlns:a16="http://schemas.microsoft.com/office/drawing/2014/main" id="{59AD60A5-4AFD-463C-8D2A-104E5B3F5610}"/>
              </a:ext>
            </a:extLst>
          </p:cNvPr>
          <p:cNvSpPr txBox="1"/>
          <p:nvPr/>
        </p:nvSpPr>
        <p:spPr>
          <a:xfrm>
            <a:off x="2070275" y="4846884"/>
            <a:ext cx="2935130"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čet očkovaných jedinců</a:t>
            </a:r>
          </a:p>
        </p:txBody>
      </p:sp>
    </p:spTree>
    <p:extLst>
      <p:ext uri="{BB962C8B-B14F-4D97-AF65-F5344CB8AC3E}">
        <p14:creationId xmlns:p14="http://schemas.microsoft.com/office/powerpoint/2010/main" val="28598622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FFFEC489-9795-4E1E-9719-513139DAB8F0}"/>
              </a:ext>
            </a:extLst>
          </p:cNvPr>
          <p:cNvSpPr>
            <a:spLocks noGrp="1"/>
          </p:cNvSpPr>
          <p:nvPr>
            <p:ph type="title"/>
          </p:nvPr>
        </p:nvSpPr>
        <p:spPr>
          <a:xfrm>
            <a:off x="381740" y="101600"/>
            <a:ext cx="6507332" cy="1305016"/>
          </a:xfrm>
        </p:spPr>
        <p:txBody>
          <a:bodyPr/>
          <a:lstStyle/>
          <a:p>
            <a:r>
              <a:rPr lang="cs-CZ" sz="2400" b="1" dirty="0">
                <a:latin typeface="Arial" panose="020B0604020202020204" pitchFamily="34" charset="0"/>
                <a:cs typeface="Arial" panose="020B0604020202020204" pitchFamily="34" charset="0"/>
              </a:rPr>
              <a:t>Scénáře pro dlouhodobé simulace zahrnující efekt vakcinace </a:t>
            </a:r>
          </a:p>
        </p:txBody>
      </p:sp>
      <p:sp>
        <p:nvSpPr>
          <p:cNvPr id="7" name="Zástupný obsah 3">
            <a:extLst>
              <a:ext uri="{FF2B5EF4-FFF2-40B4-BE49-F238E27FC236}">
                <a16:creationId xmlns:a16="http://schemas.microsoft.com/office/drawing/2014/main" id="{0D560AAE-4E15-4CF5-A76C-2680DC9E6E52}"/>
              </a:ext>
            </a:extLst>
          </p:cNvPr>
          <p:cNvSpPr txBox="1">
            <a:spLocks/>
          </p:cNvSpPr>
          <p:nvPr/>
        </p:nvSpPr>
        <p:spPr>
          <a:xfrm>
            <a:off x="381740" y="1332872"/>
            <a:ext cx="11810260" cy="556867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D31145"/>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D31145"/>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D31145"/>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D3114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D3114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31145"/>
              </a:buClr>
              <a:buSzTx/>
              <a:buFont typeface="Arial" panose="020B0604020202020204" pitchFamily="34" charset="0"/>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énáře dlouhodobých simulací z května - června 2021: </a:t>
            </a:r>
            <a:r>
              <a:rPr lang="cs-CZ" sz="1600" b="1" dirty="0">
                <a:solidFill>
                  <a:srgbClr val="3333CC"/>
                </a:solidFill>
                <a:latin typeface="Arial" panose="020B0604020202020204" pitchFamily="34" charset="0"/>
                <a:cs typeface="Arial" panose="020B0604020202020204" pitchFamily="34" charset="0"/>
              </a:rPr>
              <a:t>Současný vývoj epidemie stále potvrzuje optimistické scénáře, které předpokládají brždění šíření nákazy posílené o významná efekt postupující vakcinace. Do těchto dat se ale promítá i efekt sezónnosti, který může maskovat rizikový potenciál. Rostoucí počet nových nákaz v populaci z počátku července naznačil stále existující potenciál k zhoršení situace, jistě v důsledku šíření nové varianty viru. Proto jsou v modelech zpracovány i rizikové scénáře vývoj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indent="0">
              <a:spcBef>
                <a:spcPts val="0"/>
              </a:spcBef>
              <a:buClrTx/>
              <a:buNone/>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 – optimistický, šíření nakažlivější varianty viru kontrolované populační imunitou. </a:t>
            </a:r>
            <a:r>
              <a:rPr kumimoji="0" lang="cs-CZ" sz="1800" b="1" i="0" u="none" strike="noStrike" kern="1200" cap="none" spc="0" normalizeH="0" baseline="0" noProof="0" dirty="0">
                <a:ln>
                  <a:noFill/>
                </a:ln>
                <a:effectLst/>
                <a:uLnTx/>
                <a:uFillTx/>
                <a:latin typeface="Calibri" panose="020F0502020204030204"/>
                <a:ea typeface="+mn-ea"/>
                <a:cs typeface="+mn-cs"/>
              </a:rPr>
              <a:t>Model pracující s šířením nové varianty viru unikající částečně vakcinaci (20%), avšak s optimistickou projekcí postupu vakcinace. Scénář kalkuluje s rychlým postupem vakcinace a s jejím dlouhodobě trvalým ochranným efektem proti nové variantě viru. Scénář předpokládá dosažení minimálně 70% - 80% proočkovanosti populace 16+ do konce srpna.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a:t>
            </a:r>
            <a:r>
              <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rPr>
              <a:t>I</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 - realistický. </a:t>
            </a:r>
            <a:r>
              <a:rPr kumimoji="0" lang="cs-CZ" sz="1800" b="1" i="0" u="none" strike="noStrike" kern="1200" cap="none" spc="0" normalizeH="0" baseline="0" noProof="0" dirty="0">
                <a:ln>
                  <a:noFill/>
                </a:ln>
                <a:effectLst/>
                <a:uLnTx/>
                <a:uFillTx/>
                <a:latin typeface="Calibri" panose="020F0502020204030204"/>
                <a:ea typeface="+mn-ea"/>
                <a:cs typeface="+mn-cs"/>
              </a:rPr>
              <a:t>Riziková změna situace daná šířením nové varianty viru unikající částečně vakcinaci</a:t>
            </a:r>
            <a:r>
              <a:rPr kumimoji="0" lang="en-US" sz="1800" b="1" i="0" u="none" strike="noStrike" kern="1200" cap="none" spc="0" normalizeH="0" baseline="0" noProof="0" dirty="0">
                <a:ln>
                  <a:noFill/>
                </a:ln>
                <a:effectLst/>
                <a:uLnTx/>
                <a:uFillTx/>
                <a:latin typeface="Calibri" panose="020F0502020204030204"/>
                <a:ea typeface="+mn-ea"/>
                <a:cs typeface="+mn-cs"/>
              </a:rPr>
              <a:t> </a:t>
            </a:r>
            <a:r>
              <a:rPr kumimoji="0" lang="cs-CZ" sz="1800" b="1" i="0" u="none" strike="noStrike" kern="1200" cap="none" spc="0" normalizeH="0" baseline="0" noProof="0" dirty="0">
                <a:ln>
                  <a:noFill/>
                </a:ln>
                <a:effectLst/>
                <a:uLnTx/>
                <a:uFillTx/>
                <a:latin typeface="Calibri" panose="020F0502020204030204"/>
                <a:ea typeface="+mn-ea"/>
                <a:cs typeface="+mn-cs"/>
              </a:rPr>
              <a:t>(70% únik po 1. dávce) </a:t>
            </a:r>
            <a:r>
              <a:rPr kumimoji="0" lang="en-US" sz="1800" b="1" i="0" u="none" strike="noStrike" kern="1200" cap="none" spc="0" normalizeH="0" baseline="0" noProof="0" dirty="0">
                <a:ln>
                  <a:noFill/>
                </a:ln>
                <a:effectLst/>
                <a:uLnTx/>
                <a:uFillTx/>
                <a:latin typeface="Calibri" panose="020F0502020204030204"/>
                <a:ea typeface="+mn-ea"/>
                <a:cs typeface="+mn-cs"/>
              </a:rPr>
              <a:t>a z</a:t>
            </a:r>
            <a:r>
              <a:rPr kumimoji="0" lang="cs-CZ" sz="1800" b="1" i="0" u="none" strike="noStrike" kern="1200" cap="none" spc="0" normalizeH="0" baseline="0" noProof="0" dirty="0" err="1">
                <a:ln>
                  <a:noFill/>
                </a:ln>
                <a:effectLst/>
                <a:uLnTx/>
                <a:uFillTx/>
                <a:latin typeface="Calibri" panose="020F0502020204030204"/>
                <a:ea typeface="+mn-ea"/>
                <a:cs typeface="+mn-cs"/>
              </a:rPr>
              <a:t>ároveň</a:t>
            </a:r>
            <a:r>
              <a:rPr kumimoji="0" lang="cs-CZ" sz="1800" b="1" i="0" u="none" strike="noStrike" kern="1200" cap="none" spc="0" normalizeH="0" baseline="0" noProof="0" dirty="0">
                <a:ln>
                  <a:noFill/>
                </a:ln>
                <a:effectLst/>
                <a:uLnTx/>
                <a:uFillTx/>
                <a:latin typeface="Calibri" panose="020F0502020204030204"/>
                <a:ea typeface="+mn-ea"/>
                <a:cs typeface="+mn-cs"/>
              </a:rPr>
              <a:t> vykazující zvýšenou přenosnost (nárůst bazální reprodukce o &gt; 20%). Scénář realisticky předpokládá sníženou proočkovanost (cca 60%) u populace 16+ do konce srpna. Scénář předpokládá trvalý efekt ochrany dokončeným očkováním i u většiny zranitelných a seniorních populačních skupi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II – vysoce rizikový. </a:t>
            </a:r>
            <a:r>
              <a:rPr kumimoji="0" lang="cs-CZ" sz="1800" b="1" i="0" u="none" strike="noStrike" kern="1200" cap="none" spc="0" normalizeH="0" baseline="0" noProof="0" dirty="0">
                <a:ln>
                  <a:noFill/>
                </a:ln>
                <a:effectLst/>
                <a:uLnTx/>
                <a:uFillTx/>
                <a:latin typeface="Calibri" panose="020F0502020204030204"/>
                <a:ea typeface="+mn-ea"/>
                <a:cs typeface="+mn-cs"/>
              </a:rPr>
              <a:t>Vysoce riziková změna situace daná šířením nové varianty viru  významně unikající vakcinaci</a:t>
            </a:r>
            <a:r>
              <a:rPr kumimoji="0" lang="en-US" sz="1800" b="1" i="0" u="none" strike="noStrike" kern="1200" cap="none" spc="0" normalizeH="0" baseline="0" noProof="0" dirty="0">
                <a:ln>
                  <a:noFill/>
                </a:ln>
                <a:effectLst/>
                <a:uLnTx/>
                <a:uFillTx/>
                <a:latin typeface="Calibri" panose="020F0502020204030204"/>
                <a:ea typeface="+mn-ea"/>
                <a:cs typeface="+mn-cs"/>
              </a:rPr>
              <a:t> a z</a:t>
            </a:r>
            <a:r>
              <a:rPr kumimoji="0" lang="cs-CZ" sz="1800" b="1" i="0" u="none" strike="noStrike" kern="1200" cap="none" spc="0" normalizeH="0" baseline="0" noProof="0" dirty="0" err="1">
                <a:ln>
                  <a:noFill/>
                </a:ln>
                <a:effectLst/>
                <a:uLnTx/>
                <a:uFillTx/>
                <a:latin typeface="Calibri" panose="020F0502020204030204"/>
                <a:ea typeface="+mn-ea"/>
                <a:cs typeface="+mn-cs"/>
              </a:rPr>
              <a:t>ároveň</a:t>
            </a:r>
            <a:r>
              <a:rPr kumimoji="0" lang="cs-CZ" sz="1800" b="1" i="0" u="none" strike="noStrike" kern="1200" cap="none" spc="0" normalizeH="0" baseline="0" noProof="0" dirty="0">
                <a:ln>
                  <a:noFill/>
                </a:ln>
                <a:effectLst/>
                <a:uLnTx/>
                <a:uFillTx/>
                <a:latin typeface="Calibri" panose="020F0502020204030204"/>
                <a:ea typeface="+mn-ea"/>
                <a:cs typeface="+mn-cs"/>
              </a:rPr>
              <a:t> vykazující zvýšenou přenosnost (nárůst bazální reprodukce minimálně o &gt; 20%), šíření mezi zranitelnými skupinami obyvatel. Nedostatečná proočkovanost (&lt; 60% v populaci 16+), částečná ztráta (vyprchání) ochrany dokončeným očkováním i u zranitelných a seniorních populačních skupi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593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09436"/>
            <a:ext cx="118864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HLAVNÍ FAKTORY </a:t>
            </a:r>
            <a:r>
              <a:rPr lang="cs-CZ" sz="3600" b="1" kern="0" dirty="0">
                <a:solidFill>
                  <a:prstClr val="black"/>
                </a:solidFill>
                <a:latin typeface="Calibri" panose="020F0502020204030204"/>
              </a:rPr>
              <a:t>určující různé scénáře</a:t>
            </a:r>
            <a:endParaRPr kumimoji="0" lang="cs-CZ" sz="36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 name="Obdélník 5"/>
          <p:cNvSpPr/>
          <p:nvPr/>
        </p:nvSpPr>
        <p:spPr>
          <a:xfrm>
            <a:off x="179704" y="2653470"/>
            <a:ext cx="2659968" cy="178510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řevládá nová varianta viru s vyšší nakažlivostí </a:t>
            </a:r>
          </a:p>
          <a:p>
            <a:pPr marL="0" marR="0" lvl="0" indent="0" defTabSz="914400" rtl="0" eaLnBrk="1" fontAlgn="auto" latinLnBrk="0" hangingPunct="1">
              <a:lnSpc>
                <a:spcPct val="100000"/>
              </a:lnSpc>
              <a:spcBef>
                <a:spcPts val="0"/>
              </a:spcBef>
              <a:spcAft>
                <a:spcPts val="0"/>
              </a:spcAft>
              <a:buClrTx/>
              <a:buSzTx/>
              <a:buFontTx/>
              <a:buNone/>
              <a:tabLst/>
              <a:defRPr/>
            </a:pPr>
            <a:r>
              <a:rPr lang="cs-CZ" sz="2200" b="1" dirty="0">
                <a:solidFill>
                  <a:prstClr val="black"/>
                </a:solidFill>
                <a:latin typeface="Calibri" panose="020F0502020204030204"/>
              </a:rPr>
              <a:t>(až + 40% v základní reprodukci)</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 name="Přímá spojnice se šipkou 6">
            <a:extLst>
              <a:ext uri="{FF2B5EF4-FFF2-40B4-BE49-F238E27FC236}">
                <a16:creationId xmlns:a16="http://schemas.microsoft.com/office/drawing/2014/main" id="{C761F875-9022-4DD4-B12B-EEC2C523F670}"/>
              </a:ext>
            </a:extLst>
          </p:cNvPr>
          <p:cNvCxnSpPr>
            <a:cxnSpLocks/>
          </p:cNvCxnSpPr>
          <p:nvPr/>
        </p:nvCxnSpPr>
        <p:spPr>
          <a:xfrm flipV="1">
            <a:off x="2318675" y="1700799"/>
            <a:ext cx="941832" cy="87782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Obdélník 10">
            <a:extLst>
              <a:ext uri="{FF2B5EF4-FFF2-40B4-BE49-F238E27FC236}">
                <a16:creationId xmlns:a16="http://schemas.microsoft.com/office/drawing/2014/main" id="{B6816809-E6B2-40E8-A88F-482EFC11C691}"/>
              </a:ext>
            </a:extLst>
          </p:cNvPr>
          <p:cNvSpPr/>
          <p:nvPr/>
        </p:nvSpPr>
        <p:spPr>
          <a:xfrm>
            <a:off x="3323988" y="1042523"/>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Vysoká proočkovanost (&gt; 7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Přímá spojnice se šipkou 11">
            <a:extLst>
              <a:ext uri="{FF2B5EF4-FFF2-40B4-BE49-F238E27FC236}">
                <a16:creationId xmlns:a16="http://schemas.microsoft.com/office/drawing/2014/main" id="{F51E17BE-248B-4509-9438-6959117E005A}"/>
              </a:ext>
            </a:extLst>
          </p:cNvPr>
          <p:cNvCxnSpPr>
            <a:cxnSpLocks/>
          </p:cNvCxnSpPr>
          <p:nvPr/>
        </p:nvCxnSpPr>
        <p:spPr>
          <a:xfrm>
            <a:off x="6075959" y="1421011"/>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BFEBA185-561D-4345-9FBF-0D7C89550C2A}"/>
              </a:ext>
            </a:extLst>
          </p:cNvPr>
          <p:cNvSpPr/>
          <p:nvPr/>
        </p:nvSpPr>
        <p:spPr>
          <a:xfrm>
            <a:off x="6533941" y="1014232"/>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Účinná ochrana zranitelných skupin*</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Šipka: doprava 14">
            <a:extLst>
              <a:ext uri="{FF2B5EF4-FFF2-40B4-BE49-F238E27FC236}">
                <a16:creationId xmlns:a16="http://schemas.microsoft.com/office/drawing/2014/main" id="{EFFDF52B-B308-4346-B8D7-642BFEF42616}"/>
              </a:ext>
            </a:extLst>
          </p:cNvPr>
          <p:cNvSpPr/>
          <p:nvPr/>
        </p:nvSpPr>
        <p:spPr>
          <a:xfrm>
            <a:off x="9563620" y="1136228"/>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Obdélník 15">
            <a:extLst>
              <a:ext uri="{FF2B5EF4-FFF2-40B4-BE49-F238E27FC236}">
                <a16:creationId xmlns:a16="http://schemas.microsoft.com/office/drawing/2014/main" id="{37A8AB35-7AF2-4DC5-8CA3-E02C8D805D36}"/>
              </a:ext>
            </a:extLst>
          </p:cNvPr>
          <p:cNvSpPr/>
          <p:nvPr/>
        </p:nvSpPr>
        <p:spPr>
          <a:xfrm>
            <a:off x="10093972" y="1211798"/>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I</a:t>
            </a:r>
          </a:p>
        </p:txBody>
      </p:sp>
      <p:sp>
        <p:nvSpPr>
          <p:cNvPr id="17" name="Obdélník 16">
            <a:extLst>
              <a:ext uri="{FF2B5EF4-FFF2-40B4-BE49-F238E27FC236}">
                <a16:creationId xmlns:a16="http://schemas.microsoft.com/office/drawing/2014/main" id="{A409EB5D-A533-4587-9BB2-1AEC1A2C7541}"/>
              </a:ext>
            </a:extLst>
          </p:cNvPr>
          <p:cNvSpPr/>
          <p:nvPr/>
        </p:nvSpPr>
        <p:spPr>
          <a:xfrm>
            <a:off x="3705449" y="2926479"/>
            <a:ext cx="2467815"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Nižší proočkovanost (cca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Obdélník 18">
            <a:extLst>
              <a:ext uri="{FF2B5EF4-FFF2-40B4-BE49-F238E27FC236}">
                <a16:creationId xmlns:a16="http://schemas.microsoft.com/office/drawing/2014/main" id="{3D204F24-98DD-4702-AD37-78F3FF937221}"/>
              </a:ext>
            </a:extLst>
          </p:cNvPr>
          <p:cNvSpPr/>
          <p:nvPr/>
        </p:nvSpPr>
        <p:spPr>
          <a:xfrm>
            <a:off x="6545120" y="2838285"/>
            <a:ext cx="2807208"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Částečná ztráta ochrany zranitelných skupin**</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Šipka: doprava 19">
            <a:extLst>
              <a:ext uri="{FF2B5EF4-FFF2-40B4-BE49-F238E27FC236}">
                <a16:creationId xmlns:a16="http://schemas.microsoft.com/office/drawing/2014/main" id="{E8F44E26-FFA8-4C55-AE00-063C02002088}"/>
              </a:ext>
            </a:extLst>
          </p:cNvPr>
          <p:cNvSpPr/>
          <p:nvPr/>
        </p:nvSpPr>
        <p:spPr>
          <a:xfrm>
            <a:off x="9691721" y="3157344"/>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1" name="Obdélník 20">
            <a:extLst>
              <a:ext uri="{FF2B5EF4-FFF2-40B4-BE49-F238E27FC236}">
                <a16:creationId xmlns:a16="http://schemas.microsoft.com/office/drawing/2014/main" id="{938C5989-E24C-42AB-885C-845A5C4E8CB2}"/>
              </a:ext>
            </a:extLst>
          </p:cNvPr>
          <p:cNvSpPr/>
          <p:nvPr/>
        </p:nvSpPr>
        <p:spPr>
          <a:xfrm>
            <a:off x="10222073" y="3187194"/>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a:t>
            </a: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I</a:t>
            </a:r>
          </a:p>
        </p:txBody>
      </p:sp>
      <p:cxnSp>
        <p:nvCxnSpPr>
          <p:cNvPr id="22" name="Přímá spojnice se šipkou 21">
            <a:extLst>
              <a:ext uri="{FF2B5EF4-FFF2-40B4-BE49-F238E27FC236}">
                <a16:creationId xmlns:a16="http://schemas.microsoft.com/office/drawing/2014/main" id="{7E60BCC4-8AC1-4AAA-8E5C-568B8AD0D6E8}"/>
              </a:ext>
            </a:extLst>
          </p:cNvPr>
          <p:cNvCxnSpPr>
            <a:cxnSpLocks/>
          </p:cNvCxnSpPr>
          <p:nvPr/>
        </p:nvCxnSpPr>
        <p:spPr>
          <a:xfrm>
            <a:off x="2969040" y="3476313"/>
            <a:ext cx="64465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6EEFD4B4-023A-4D02-9F2C-C48C354C8953}"/>
              </a:ext>
            </a:extLst>
          </p:cNvPr>
          <p:cNvCxnSpPr>
            <a:cxnSpLocks/>
          </p:cNvCxnSpPr>
          <p:nvPr/>
        </p:nvCxnSpPr>
        <p:spPr>
          <a:xfrm>
            <a:off x="2292125" y="4495163"/>
            <a:ext cx="960816" cy="95596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77C6452C-A8FC-47D8-A9DD-A3B1233DC39B}"/>
              </a:ext>
            </a:extLst>
          </p:cNvPr>
          <p:cNvSpPr/>
          <p:nvPr/>
        </p:nvSpPr>
        <p:spPr>
          <a:xfrm>
            <a:off x="3323988" y="5120918"/>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Nízká proočkovanost (&lt;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délník 27">
            <a:extLst>
              <a:ext uri="{FF2B5EF4-FFF2-40B4-BE49-F238E27FC236}">
                <a16:creationId xmlns:a16="http://schemas.microsoft.com/office/drawing/2014/main" id="{2D47680E-FA8B-41C4-983B-4793796CBB41}"/>
              </a:ext>
            </a:extLst>
          </p:cNvPr>
          <p:cNvSpPr/>
          <p:nvPr/>
        </p:nvSpPr>
        <p:spPr>
          <a:xfrm>
            <a:off x="6603636" y="4994038"/>
            <a:ext cx="2748692"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cs-CZ" sz="2200" dirty="0">
                <a:solidFill>
                  <a:prstClr val="black"/>
                </a:solidFill>
                <a:latin typeface="Calibri" panose="020F0502020204030204"/>
              </a:rPr>
              <a:t>Významnější ztráta </a:t>
            </a: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 ochrany zranitelných skupin ***</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Šipka: doprava 28">
            <a:extLst>
              <a:ext uri="{FF2B5EF4-FFF2-40B4-BE49-F238E27FC236}">
                <a16:creationId xmlns:a16="http://schemas.microsoft.com/office/drawing/2014/main" id="{14FB6F32-FA0A-439B-AC33-36C96173D56D}"/>
              </a:ext>
            </a:extLst>
          </p:cNvPr>
          <p:cNvSpPr/>
          <p:nvPr/>
        </p:nvSpPr>
        <p:spPr>
          <a:xfrm>
            <a:off x="9644248" y="5284455"/>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Obdélník 29">
            <a:extLst>
              <a:ext uri="{FF2B5EF4-FFF2-40B4-BE49-F238E27FC236}">
                <a16:creationId xmlns:a16="http://schemas.microsoft.com/office/drawing/2014/main" id="{283C6836-9C4D-46E7-9F13-1E5777E83D0F}"/>
              </a:ext>
            </a:extLst>
          </p:cNvPr>
          <p:cNvSpPr/>
          <p:nvPr/>
        </p:nvSpPr>
        <p:spPr>
          <a:xfrm>
            <a:off x="10128880" y="5360025"/>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II</a:t>
            </a:r>
            <a:endPar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698EBB1C-CCD0-45F3-9C68-9EE8E6C1F0C5}"/>
              </a:ext>
            </a:extLst>
          </p:cNvPr>
          <p:cNvSpPr txBox="1"/>
          <p:nvPr/>
        </p:nvSpPr>
        <p:spPr>
          <a:xfrm>
            <a:off x="6512657" y="1718257"/>
            <a:ext cx="5589198" cy="738664"/>
          </a:xfrm>
          <a:prstGeom prst="rect">
            <a:avLst/>
          </a:prstGeom>
          <a:noFill/>
        </p:spPr>
        <p:txBody>
          <a:bodyPr wrap="square" rtlCol="0">
            <a:spAutoFit/>
          </a:bodyPr>
          <a:lstStyle/>
          <a:p>
            <a:r>
              <a:rPr lang="cs-CZ" sz="1400" dirty="0"/>
              <a:t>* Podaří se proočkovat &gt; 90% seniorních skupin obyvatel, model předpokládá trvalý dlouhodobý efekt vakcinace u těchto osob. Zavedou se účinná preventivní opatření chránící seniory, sociální zařízení apod. </a:t>
            </a:r>
          </a:p>
        </p:txBody>
      </p:sp>
      <p:sp>
        <p:nvSpPr>
          <p:cNvPr id="33" name="TextovéPole 32">
            <a:extLst>
              <a:ext uri="{FF2B5EF4-FFF2-40B4-BE49-F238E27FC236}">
                <a16:creationId xmlns:a16="http://schemas.microsoft.com/office/drawing/2014/main" id="{65E3C09B-7F6F-4F8A-B9B6-E582634C1AF7}"/>
              </a:ext>
            </a:extLst>
          </p:cNvPr>
          <p:cNvSpPr txBox="1"/>
          <p:nvPr/>
        </p:nvSpPr>
        <p:spPr>
          <a:xfrm>
            <a:off x="6512657" y="3933891"/>
            <a:ext cx="5679343" cy="954107"/>
          </a:xfrm>
          <a:prstGeom prst="rect">
            <a:avLst/>
          </a:prstGeom>
          <a:noFill/>
        </p:spPr>
        <p:txBody>
          <a:bodyPr wrap="square" rtlCol="0">
            <a:spAutoFit/>
          </a:bodyPr>
          <a:lstStyle/>
          <a:p>
            <a:r>
              <a:rPr lang="cs-CZ" sz="1400" dirty="0"/>
              <a:t>** Nepodaří se proočkovat &gt; 90% seniorních skupin obyvatel, model nicméně předpokládá trvalý dlouhodobý efekt vakcinace u těchto osob. Zavedou se účinná preventivní opatření chránící seniory, sociální zařízení apod. </a:t>
            </a:r>
          </a:p>
        </p:txBody>
      </p:sp>
      <p:sp>
        <p:nvSpPr>
          <p:cNvPr id="34" name="TextovéPole 33">
            <a:extLst>
              <a:ext uri="{FF2B5EF4-FFF2-40B4-BE49-F238E27FC236}">
                <a16:creationId xmlns:a16="http://schemas.microsoft.com/office/drawing/2014/main" id="{7CFDA444-6BE4-4E4A-8CEF-80728B3EAB17}"/>
              </a:ext>
            </a:extLst>
          </p:cNvPr>
          <p:cNvSpPr txBox="1"/>
          <p:nvPr/>
        </p:nvSpPr>
        <p:spPr>
          <a:xfrm>
            <a:off x="6576204" y="6052982"/>
            <a:ext cx="5745856" cy="738664"/>
          </a:xfrm>
          <a:prstGeom prst="rect">
            <a:avLst/>
          </a:prstGeom>
          <a:noFill/>
        </p:spPr>
        <p:txBody>
          <a:bodyPr wrap="square" rtlCol="0">
            <a:spAutoFit/>
          </a:bodyPr>
          <a:lstStyle/>
          <a:p>
            <a:r>
              <a:rPr lang="cs-CZ" sz="1400" dirty="0"/>
              <a:t>*** Nepodaří se proočkovat &gt; 90% seniorních skupin obyvatel a dojde k částečné ztrátě (vyprchání) ochrany vakcinací u těchto osob. Nákaza se bude částečně šířit i v seniorní populaci a mezi dlouhodobě nemocnými.</a:t>
            </a:r>
          </a:p>
        </p:txBody>
      </p:sp>
      <p:cxnSp>
        <p:nvCxnSpPr>
          <p:cNvPr id="35" name="Přímá spojnice se šipkou 34">
            <a:extLst>
              <a:ext uri="{FF2B5EF4-FFF2-40B4-BE49-F238E27FC236}">
                <a16:creationId xmlns:a16="http://schemas.microsoft.com/office/drawing/2014/main" id="{286F60BF-388E-45A8-8AD1-BCE17096E80C}"/>
              </a:ext>
            </a:extLst>
          </p:cNvPr>
          <p:cNvCxnSpPr>
            <a:cxnSpLocks/>
          </p:cNvCxnSpPr>
          <p:nvPr/>
        </p:nvCxnSpPr>
        <p:spPr>
          <a:xfrm>
            <a:off x="6131196" y="3394136"/>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F78DDCFE-E011-48A5-BCDB-40A3EEAA1C37}"/>
              </a:ext>
            </a:extLst>
          </p:cNvPr>
          <p:cNvCxnSpPr>
            <a:cxnSpLocks/>
          </p:cNvCxnSpPr>
          <p:nvPr/>
        </p:nvCxnSpPr>
        <p:spPr>
          <a:xfrm>
            <a:off x="6247481" y="5505638"/>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1BD02343-3B5E-4F98-BE6C-73727F2F871D}"/>
              </a:ext>
            </a:extLst>
          </p:cNvPr>
          <p:cNvSpPr txBox="1"/>
          <p:nvPr/>
        </p:nvSpPr>
        <p:spPr>
          <a:xfrm>
            <a:off x="3382709" y="1796320"/>
            <a:ext cx="3007745" cy="369332"/>
          </a:xfrm>
          <a:prstGeom prst="rect">
            <a:avLst/>
          </a:prstGeom>
          <a:solidFill>
            <a:schemeClr val="bg1"/>
          </a:solidFill>
        </p:spPr>
        <p:txBody>
          <a:bodyPr wrap="square" rtlCol="0">
            <a:spAutoFit/>
          </a:bodyPr>
          <a:lstStyle/>
          <a:p>
            <a:r>
              <a:rPr lang="cs-CZ" b="1" dirty="0"/>
              <a:t>Vysoký efekt plného očkování</a:t>
            </a:r>
            <a:endParaRPr lang="cs-CZ" b="1" u="sng" dirty="0"/>
          </a:p>
        </p:txBody>
      </p:sp>
      <p:sp>
        <p:nvSpPr>
          <p:cNvPr id="27" name="TextovéPole 26">
            <a:extLst>
              <a:ext uri="{FF2B5EF4-FFF2-40B4-BE49-F238E27FC236}">
                <a16:creationId xmlns:a16="http://schemas.microsoft.com/office/drawing/2014/main" id="{8203A09D-0024-4BB0-885B-95467AF6C5E2}"/>
              </a:ext>
            </a:extLst>
          </p:cNvPr>
          <p:cNvSpPr txBox="1"/>
          <p:nvPr/>
        </p:nvSpPr>
        <p:spPr>
          <a:xfrm>
            <a:off x="3705448" y="3913995"/>
            <a:ext cx="3007745" cy="646331"/>
          </a:xfrm>
          <a:prstGeom prst="rect">
            <a:avLst/>
          </a:prstGeom>
          <a:solidFill>
            <a:schemeClr val="bg1"/>
          </a:solidFill>
        </p:spPr>
        <p:txBody>
          <a:bodyPr wrap="square" rtlCol="0">
            <a:spAutoFit/>
          </a:bodyPr>
          <a:lstStyle/>
          <a:p>
            <a:r>
              <a:rPr lang="cs-CZ" b="1" dirty="0"/>
              <a:t>Nižší efekt očkování proti nové variantě</a:t>
            </a:r>
          </a:p>
        </p:txBody>
      </p:sp>
      <p:sp>
        <p:nvSpPr>
          <p:cNvPr id="31" name="TextovéPole 30">
            <a:extLst>
              <a:ext uri="{FF2B5EF4-FFF2-40B4-BE49-F238E27FC236}">
                <a16:creationId xmlns:a16="http://schemas.microsoft.com/office/drawing/2014/main" id="{0C1AF043-1F36-4272-AF17-A5089DA30AD8}"/>
              </a:ext>
            </a:extLst>
          </p:cNvPr>
          <p:cNvSpPr txBox="1"/>
          <p:nvPr/>
        </p:nvSpPr>
        <p:spPr>
          <a:xfrm>
            <a:off x="3332239" y="5840865"/>
            <a:ext cx="3007745" cy="646331"/>
          </a:xfrm>
          <a:prstGeom prst="rect">
            <a:avLst/>
          </a:prstGeom>
          <a:solidFill>
            <a:schemeClr val="bg1"/>
          </a:solidFill>
        </p:spPr>
        <p:txBody>
          <a:bodyPr wrap="square" rtlCol="0">
            <a:spAutoFit/>
          </a:bodyPr>
          <a:lstStyle/>
          <a:p>
            <a:r>
              <a:rPr lang="cs-CZ" b="1" dirty="0"/>
              <a:t>Nižší efekt očkování proti nové variantě</a:t>
            </a:r>
          </a:p>
        </p:txBody>
      </p:sp>
    </p:spTree>
    <p:extLst>
      <p:ext uri="{BB962C8B-B14F-4D97-AF65-F5344CB8AC3E}">
        <p14:creationId xmlns:p14="http://schemas.microsoft.com/office/powerpoint/2010/main" val="325747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8010"/>
            <a:ext cx="118864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Indikátory rizikového vývoje </a:t>
            </a:r>
            <a:endParaRPr kumimoji="0" lang="cs-CZ" sz="36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B6816809-E6B2-40E8-A88F-482EFC11C691}"/>
              </a:ext>
            </a:extLst>
          </p:cNvPr>
          <p:cNvSpPr/>
          <p:nvPr/>
        </p:nvSpPr>
        <p:spPr>
          <a:xfrm>
            <a:off x="983124" y="1008254"/>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Vysoká proočkovanost (&gt; 7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délník 15">
            <a:extLst>
              <a:ext uri="{FF2B5EF4-FFF2-40B4-BE49-F238E27FC236}">
                <a16:creationId xmlns:a16="http://schemas.microsoft.com/office/drawing/2014/main" id="{37A8AB35-7AF2-4DC5-8CA3-E02C8D805D36}"/>
              </a:ext>
            </a:extLst>
          </p:cNvPr>
          <p:cNvSpPr/>
          <p:nvPr/>
        </p:nvSpPr>
        <p:spPr>
          <a:xfrm>
            <a:off x="1258151" y="1920826"/>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I</a:t>
            </a:r>
          </a:p>
        </p:txBody>
      </p:sp>
      <p:sp>
        <p:nvSpPr>
          <p:cNvPr id="17" name="Obdélník 16">
            <a:extLst>
              <a:ext uri="{FF2B5EF4-FFF2-40B4-BE49-F238E27FC236}">
                <a16:creationId xmlns:a16="http://schemas.microsoft.com/office/drawing/2014/main" id="{A409EB5D-A533-4587-9BB2-1AEC1A2C7541}"/>
              </a:ext>
            </a:extLst>
          </p:cNvPr>
          <p:cNvSpPr/>
          <p:nvPr/>
        </p:nvSpPr>
        <p:spPr>
          <a:xfrm>
            <a:off x="4792456" y="1008254"/>
            <a:ext cx="3008461"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Snížená proočkovano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cca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938C5989-E24C-42AB-885C-845A5C4E8CB2}"/>
              </a:ext>
            </a:extLst>
          </p:cNvPr>
          <p:cNvSpPr/>
          <p:nvPr/>
        </p:nvSpPr>
        <p:spPr>
          <a:xfrm>
            <a:off x="5356795" y="1920826"/>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a:t>
            </a: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I</a:t>
            </a:r>
          </a:p>
        </p:txBody>
      </p:sp>
      <p:sp>
        <p:nvSpPr>
          <p:cNvPr id="26" name="Obdélník 25">
            <a:extLst>
              <a:ext uri="{FF2B5EF4-FFF2-40B4-BE49-F238E27FC236}">
                <a16:creationId xmlns:a16="http://schemas.microsoft.com/office/drawing/2014/main" id="{77C6452C-A8FC-47D8-A9DD-A3B1233DC39B}"/>
              </a:ext>
            </a:extLst>
          </p:cNvPr>
          <p:cNvSpPr/>
          <p:nvPr/>
        </p:nvSpPr>
        <p:spPr>
          <a:xfrm>
            <a:off x="8872270" y="928446"/>
            <a:ext cx="2807208"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Nízká proočkovanost (&lt;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délník 29">
            <a:extLst>
              <a:ext uri="{FF2B5EF4-FFF2-40B4-BE49-F238E27FC236}">
                <a16:creationId xmlns:a16="http://schemas.microsoft.com/office/drawing/2014/main" id="{283C6836-9C4D-46E7-9F13-1E5777E83D0F}"/>
              </a:ext>
            </a:extLst>
          </p:cNvPr>
          <p:cNvSpPr/>
          <p:nvPr/>
        </p:nvSpPr>
        <p:spPr>
          <a:xfrm>
            <a:off x="10176353" y="1839390"/>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II</a:t>
            </a:r>
            <a:endPar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608A5942-0B98-4A59-9958-7B94101201AA}"/>
              </a:ext>
            </a:extLst>
          </p:cNvPr>
          <p:cNvSpPr txBox="1"/>
          <p:nvPr/>
        </p:nvSpPr>
        <p:spPr>
          <a:xfrm>
            <a:off x="1674502" y="544095"/>
            <a:ext cx="9244368" cy="523220"/>
          </a:xfrm>
          <a:prstGeom prst="rect">
            <a:avLst/>
          </a:prstGeom>
          <a:noFill/>
        </p:spPr>
        <p:txBody>
          <a:bodyPr wrap="square" rtlCol="0">
            <a:spAutoFit/>
          </a:bodyPr>
          <a:lstStyle/>
          <a:p>
            <a:pPr algn="ctr"/>
            <a:r>
              <a:rPr lang="cs-CZ" sz="2800" i="1" dirty="0"/>
              <a:t>Vývoj v závěru srpna – počátku září při stejném objemu testů </a:t>
            </a:r>
          </a:p>
        </p:txBody>
      </p:sp>
      <p:cxnSp>
        <p:nvCxnSpPr>
          <p:cNvPr id="23" name="Přímá spojnice se šipkou 22">
            <a:extLst>
              <a:ext uri="{FF2B5EF4-FFF2-40B4-BE49-F238E27FC236}">
                <a16:creationId xmlns:a16="http://schemas.microsoft.com/office/drawing/2014/main" id="{FD2CD4FF-DDC1-4356-B7EF-FD53A0F39E50}"/>
              </a:ext>
            </a:extLst>
          </p:cNvPr>
          <p:cNvCxnSpPr>
            <a:cxnSpLocks/>
          </p:cNvCxnSpPr>
          <p:nvPr/>
        </p:nvCxnSpPr>
        <p:spPr>
          <a:xfrm>
            <a:off x="1845964" y="2321630"/>
            <a:ext cx="0" cy="76757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3BA34900-CD7E-4EE1-9849-85657F099ED2}"/>
              </a:ext>
            </a:extLst>
          </p:cNvPr>
          <p:cNvSpPr txBox="1"/>
          <p:nvPr/>
        </p:nvSpPr>
        <p:spPr>
          <a:xfrm>
            <a:off x="0" y="3032766"/>
            <a:ext cx="4096677" cy="3108543"/>
          </a:xfrm>
          <a:prstGeom prst="rect">
            <a:avLst/>
          </a:prstGeom>
          <a:noFill/>
        </p:spPr>
        <p:txBody>
          <a:bodyPr wrap="square" rtlCol="0">
            <a:spAutoFit/>
          </a:bodyPr>
          <a:lstStyle/>
          <a:p>
            <a:pPr marL="285750" indent="-285750">
              <a:buFont typeface="Wingdings" panose="05000000000000000000" pitchFamily="2" charset="2"/>
              <a:buChar char="§"/>
            </a:pPr>
            <a:r>
              <a:rPr lang="cs-CZ" sz="1400" dirty="0"/>
              <a:t>R dlouhodobě &lt; 1</a:t>
            </a:r>
          </a:p>
          <a:p>
            <a:pPr marL="285750" indent="-285750">
              <a:buFont typeface="Wingdings" panose="05000000000000000000" pitchFamily="2" charset="2"/>
              <a:buChar char="§"/>
            </a:pPr>
            <a:r>
              <a:rPr lang="cs-CZ" sz="1400" dirty="0"/>
              <a:t>7denní záchyty nákazy: 10 – 25 / 100 tis. obyv.</a:t>
            </a:r>
          </a:p>
          <a:p>
            <a:pPr marL="285750" indent="-285750">
              <a:buFont typeface="Wingdings" panose="05000000000000000000" pitchFamily="2" charset="2"/>
              <a:buChar char="§"/>
            </a:pPr>
            <a:r>
              <a:rPr lang="cs-CZ" sz="1400" dirty="0"/>
              <a:t>Relativní pozitivita indikovaných testů: &lt; 4 – 5%</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t>Specifické šíření v populaci &lt; 40 let</a:t>
            </a:r>
          </a:p>
          <a:p>
            <a:pPr marL="285750" indent="-285750">
              <a:buFont typeface="Wingdings" panose="05000000000000000000" pitchFamily="2" charset="2"/>
              <a:buChar char="§"/>
            </a:pPr>
            <a:r>
              <a:rPr lang="cs-CZ" sz="1400" dirty="0"/>
              <a:t>Nízký zásah zranitelných skupin, 7 denní záchyty v populaci 65+ nižší než 12,5/100tis. obyv.</a:t>
            </a:r>
          </a:p>
          <a:p>
            <a:pPr marL="285750" indent="-285750">
              <a:buFont typeface="Wingdings" panose="05000000000000000000" pitchFamily="2" charset="2"/>
              <a:buChar char="§"/>
            </a:pPr>
            <a:r>
              <a:rPr lang="cs-CZ" sz="1400" dirty="0"/>
              <a:t>Nákazy po vakcinaci nerostou v seniorní populaci; &gt; 90% nakažených po vakcinaci má mírný průběh nemoci</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t>Neroste počet symptomatických případů</a:t>
            </a:r>
          </a:p>
          <a:p>
            <a:pPr marL="285750" indent="-285750">
              <a:buFont typeface="Wingdings" panose="05000000000000000000" pitchFamily="2" charset="2"/>
              <a:buChar char="§"/>
            </a:pPr>
            <a:r>
              <a:rPr lang="cs-CZ" sz="1400" dirty="0"/>
              <a:t>Příjmy do nemocnic: &lt; 15 - 20 denně </a:t>
            </a:r>
          </a:p>
          <a:p>
            <a:pPr marL="285750" indent="-285750">
              <a:buFont typeface="Wingdings" panose="05000000000000000000" pitchFamily="2" charset="2"/>
              <a:buChar char="§"/>
            </a:pPr>
            <a:r>
              <a:rPr lang="cs-CZ" sz="1400" dirty="0"/>
              <a:t>Obsazenost JIP: &lt; 10% celkové kapacity</a:t>
            </a:r>
          </a:p>
        </p:txBody>
      </p:sp>
      <p:cxnSp>
        <p:nvCxnSpPr>
          <p:cNvPr id="32" name="Přímá spojnice se šipkou 31">
            <a:extLst>
              <a:ext uri="{FF2B5EF4-FFF2-40B4-BE49-F238E27FC236}">
                <a16:creationId xmlns:a16="http://schemas.microsoft.com/office/drawing/2014/main" id="{2A79C204-ACB1-4331-A369-25F2A7554E2C}"/>
              </a:ext>
            </a:extLst>
          </p:cNvPr>
          <p:cNvCxnSpPr/>
          <p:nvPr/>
        </p:nvCxnSpPr>
        <p:spPr>
          <a:xfrm>
            <a:off x="11387572" y="2351713"/>
            <a:ext cx="0" cy="10972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TextovéPole 17">
            <a:extLst>
              <a:ext uri="{FF2B5EF4-FFF2-40B4-BE49-F238E27FC236}">
                <a16:creationId xmlns:a16="http://schemas.microsoft.com/office/drawing/2014/main" id="{212E502D-DC2B-4088-AEF4-5BDEF378293F}"/>
              </a:ext>
            </a:extLst>
          </p:cNvPr>
          <p:cNvSpPr txBox="1"/>
          <p:nvPr/>
        </p:nvSpPr>
        <p:spPr>
          <a:xfrm>
            <a:off x="4130861" y="3026274"/>
            <a:ext cx="4096675" cy="3323987"/>
          </a:xfrm>
          <a:prstGeom prst="rect">
            <a:avLst/>
          </a:prstGeom>
          <a:noFill/>
        </p:spPr>
        <p:txBody>
          <a:bodyPr wrap="square" rtlCol="0">
            <a:spAutoFit/>
          </a:bodyPr>
          <a:lstStyle/>
          <a:p>
            <a:pPr marL="285750" indent="-285750">
              <a:buFont typeface="Wingdings" panose="05000000000000000000" pitchFamily="2" charset="2"/>
              <a:buChar char="§"/>
            </a:pPr>
            <a:r>
              <a:rPr lang="cs-CZ" sz="1400" dirty="0"/>
              <a:t>R dlouhodobě &gt; 1</a:t>
            </a:r>
          </a:p>
          <a:p>
            <a:pPr marL="285750" indent="-285750">
              <a:buFont typeface="Wingdings" panose="05000000000000000000" pitchFamily="2" charset="2"/>
              <a:buChar char="§"/>
            </a:pPr>
            <a:r>
              <a:rPr lang="cs-CZ" sz="1400" dirty="0"/>
              <a:t>7denní záchyty nákazy: &gt;25/ 100 tis. obyv.</a:t>
            </a:r>
          </a:p>
          <a:p>
            <a:pPr marL="285750" indent="-285750">
              <a:buFont typeface="Wingdings" panose="05000000000000000000" pitchFamily="2" charset="2"/>
              <a:buChar char="§"/>
            </a:pPr>
            <a:r>
              <a:rPr lang="cs-CZ" sz="1400" dirty="0"/>
              <a:t>Relativní pozitivita indikovaných testů: &gt; 5 – 10%</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t>7 denní záchyty v populaci 65+ nižší než 25/100tis. obyv.</a:t>
            </a:r>
          </a:p>
          <a:p>
            <a:pPr marL="285750" indent="-285750">
              <a:buFont typeface="Wingdings" panose="05000000000000000000" pitchFamily="2" charset="2"/>
              <a:buChar char="§"/>
            </a:pPr>
            <a:r>
              <a:rPr lang="cs-CZ" sz="1400" dirty="0"/>
              <a:t>Nákazy po vakcinaci významně nerostou v seniorní populaci; &gt; 90% nakažených po vakcinaci má mírný průběh nemoci</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t>S růstem počtu nakažených roste počet symptomatických případů</a:t>
            </a:r>
          </a:p>
          <a:p>
            <a:pPr marL="285750" indent="-285750">
              <a:buFont typeface="Wingdings" panose="05000000000000000000" pitchFamily="2" charset="2"/>
              <a:buChar char="§"/>
            </a:pPr>
            <a:r>
              <a:rPr lang="cs-CZ" sz="1400" dirty="0"/>
              <a:t>Příjmy do nemocnic: max. 20 - 30 denně, rostoucí trend</a:t>
            </a:r>
          </a:p>
          <a:p>
            <a:pPr marL="285750" indent="-285750">
              <a:buFont typeface="Wingdings" panose="05000000000000000000" pitchFamily="2" charset="2"/>
              <a:buChar char="§"/>
            </a:pPr>
            <a:r>
              <a:rPr lang="cs-CZ" sz="1400" dirty="0"/>
              <a:t>Riziková obsazenost JIP: 10 - 20% celkové kapacity</a:t>
            </a:r>
          </a:p>
        </p:txBody>
      </p:sp>
      <p:sp>
        <p:nvSpPr>
          <p:cNvPr id="24" name="TextovéPole 23">
            <a:extLst>
              <a:ext uri="{FF2B5EF4-FFF2-40B4-BE49-F238E27FC236}">
                <a16:creationId xmlns:a16="http://schemas.microsoft.com/office/drawing/2014/main" id="{37B9C062-96E5-4AB0-BD95-407F40F3805E}"/>
              </a:ext>
            </a:extLst>
          </p:cNvPr>
          <p:cNvSpPr txBox="1"/>
          <p:nvPr/>
        </p:nvSpPr>
        <p:spPr>
          <a:xfrm>
            <a:off x="8227536" y="3230238"/>
            <a:ext cx="4096675" cy="2893100"/>
          </a:xfrm>
          <a:prstGeom prst="rect">
            <a:avLst/>
          </a:prstGeom>
          <a:noFill/>
        </p:spPr>
        <p:txBody>
          <a:bodyPr wrap="square" rtlCol="0">
            <a:spAutoFit/>
          </a:bodyPr>
          <a:lstStyle/>
          <a:p>
            <a:pPr marL="285750" indent="-285750">
              <a:buFont typeface="Wingdings" panose="05000000000000000000" pitchFamily="2" charset="2"/>
              <a:buChar char="§"/>
            </a:pPr>
            <a:r>
              <a:rPr lang="cs-CZ" sz="1400" dirty="0"/>
              <a:t>R dlouhodobě &gt; 1</a:t>
            </a:r>
          </a:p>
          <a:p>
            <a:pPr marL="285750" indent="-285750">
              <a:buFont typeface="Wingdings" panose="05000000000000000000" pitchFamily="2" charset="2"/>
              <a:buChar char="§"/>
            </a:pPr>
            <a:r>
              <a:rPr lang="cs-CZ" sz="1400" dirty="0"/>
              <a:t>7denní záchyty nákazy: &gt;50/ 100 tis. obyv.</a:t>
            </a:r>
          </a:p>
          <a:p>
            <a:pPr marL="285750" indent="-285750">
              <a:buFont typeface="Wingdings" panose="05000000000000000000" pitchFamily="2" charset="2"/>
              <a:buChar char="§"/>
            </a:pPr>
            <a:r>
              <a:rPr lang="cs-CZ" sz="1400" dirty="0"/>
              <a:t>Relativní pozitivita indikovaných testů: &gt; 5 – 10%</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solidFill>
                  <a:srgbClr val="FF0000"/>
                </a:solidFill>
              </a:rPr>
              <a:t>7 denní záchyty v populaci 65+ vyšší než 25/100tis. obyv.</a:t>
            </a:r>
          </a:p>
          <a:p>
            <a:pPr marL="285750" indent="-285750">
              <a:buFont typeface="Wingdings" panose="05000000000000000000" pitchFamily="2" charset="2"/>
              <a:buChar char="§"/>
            </a:pPr>
            <a:r>
              <a:rPr lang="cs-CZ" sz="1400" dirty="0">
                <a:solidFill>
                  <a:srgbClr val="FF0000"/>
                </a:solidFill>
              </a:rPr>
              <a:t>Nákazy po vakcinaci významně rostou v seniorní populaci; ohniska v seniorní populaci</a:t>
            </a:r>
          </a:p>
          <a:p>
            <a:pPr marL="285750" indent="-285750">
              <a:buFont typeface="Wingdings" panose="05000000000000000000" pitchFamily="2" charset="2"/>
              <a:buChar char="§"/>
            </a:pPr>
            <a:endParaRPr lang="cs-CZ" sz="1400" dirty="0"/>
          </a:p>
          <a:p>
            <a:pPr marL="285750" indent="-285750">
              <a:buFont typeface="Wingdings" panose="05000000000000000000" pitchFamily="2" charset="2"/>
              <a:buChar char="§"/>
            </a:pPr>
            <a:r>
              <a:rPr lang="cs-CZ" sz="1400" dirty="0"/>
              <a:t>S růstem počtu nakažených roste počet symptomatických případů</a:t>
            </a:r>
          </a:p>
          <a:p>
            <a:pPr marL="285750" indent="-285750">
              <a:buFont typeface="Wingdings" panose="05000000000000000000" pitchFamily="2" charset="2"/>
              <a:buChar char="§"/>
            </a:pPr>
            <a:r>
              <a:rPr lang="cs-CZ" sz="1400" dirty="0"/>
              <a:t>Příjmy do nemocnic: &gt; 50 denně, rostoucí trend</a:t>
            </a:r>
          </a:p>
          <a:p>
            <a:pPr marL="285750" indent="-285750">
              <a:buFont typeface="Wingdings" panose="05000000000000000000" pitchFamily="2" charset="2"/>
              <a:buChar char="§"/>
            </a:pPr>
            <a:r>
              <a:rPr lang="cs-CZ" sz="1400" dirty="0"/>
              <a:t>Riziková obsazenost JIP: &gt; 20% celkové kapacity</a:t>
            </a:r>
          </a:p>
        </p:txBody>
      </p:sp>
      <p:cxnSp>
        <p:nvCxnSpPr>
          <p:cNvPr id="20" name="Přímá spojnice se šipkou 19">
            <a:extLst>
              <a:ext uri="{FF2B5EF4-FFF2-40B4-BE49-F238E27FC236}">
                <a16:creationId xmlns:a16="http://schemas.microsoft.com/office/drawing/2014/main" id="{EF79FE93-C77A-4E01-81A3-14FC52060245}"/>
              </a:ext>
            </a:extLst>
          </p:cNvPr>
          <p:cNvCxnSpPr>
            <a:cxnSpLocks/>
          </p:cNvCxnSpPr>
          <p:nvPr/>
        </p:nvCxnSpPr>
        <p:spPr>
          <a:xfrm>
            <a:off x="6112908" y="2321630"/>
            <a:ext cx="0" cy="76757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TextovéPole 21">
            <a:extLst>
              <a:ext uri="{FF2B5EF4-FFF2-40B4-BE49-F238E27FC236}">
                <a16:creationId xmlns:a16="http://schemas.microsoft.com/office/drawing/2014/main" id="{303599FD-4FB1-4418-8DFD-122D2ED7BAE9}"/>
              </a:ext>
            </a:extLst>
          </p:cNvPr>
          <p:cNvSpPr txBox="1"/>
          <p:nvPr/>
        </p:nvSpPr>
        <p:spPr>
          <a:xfrm>
            <a:off x="1845964" y="6286158"/>
            <a:ext cx="9244368" cy="430887"/>
          </a:xfrm>
          <a:prstGeom prst="rect">
            <a:avLst/>
          </a:prstGeom>
          <a:noFill/>
        </p:spPr>
        <p:txBody>
          <a:bodyPr wrap="square" rtlCol="0">
            <a:spAutoFit/>
          </a:bodyPr>
          <a:lstStyle/>
          <a:p>
            <a:pPr algn="ctr"/>
            <a:r>
              <a:rPr lang="cs-CZ" sz="2200" i="1" dirty="0"/>
              <a:t>Hodnocení vývoje je nezbytně multidimenzionální</a:t>
            </a:r>
          </a:p>
        </p:txBody>
      </p:sp>
    </p:spTree>
    <p:extLst>
      <p:ext uri="{BB962C8B-B14F-4D97-AF65-F5344CB8AC3E}">
        <p14:creationId xmlns:p14="http://schemas.microsoft.com/office/powerpoint/2010/main" val="33820778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Aktuální stav hlavních indikátorů vývoje dle </a:t>
            </a:r>
            <a:r>
              <a:rPr lang="cs-CZ" sz="5200" b="1"/>
              <a:t>nastavených scénářů</a:t>
            </a:r>
            <a:endParaRPr lang="cs-CZ" sz="4200" i="1" dirty="0"/>
          </a:p>
        </p:txBody>
      </p:sp>
    </p:spTree>
    <p:extLst>
      <p:ext uri="{BB962C8B-B14F-4D97-AF65-F5344CB8AC3E}">
        <p14:creationId xmlns:p14="http://schemas.microsoft.com/office/powerpoint/2010/main" val="4279059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A92327AC-9DC4-4FA9-B63A-00DBCF60CD90}"/>
              </a:ext>
            </a:extLst>
          </p:cNvPr>
          <p:cNvSpPr/>
          <p:nvPr/>
        </p:nvSpPr>
        <p:spPr>
          <a:xfrm>
            <a:off x="8207795" y="1053236"/>
            <a:ext cx="3980176" cy="5814189"/>
          </a:xfrm>
          <a:prstGeom prst="rect">
            <a:avLst/>
          </a:prstGeom>
          <a:solidFill>
            <a:srgbClr val="FFB7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Obdélník 13">
            <a:extLst>
              <a:ext uri="{FF2B5EF4-FFF2-40B4-BE49-F238E27FC236}">
                <a16:creationId xmlns:a16="http://schemas.microsoft.com/office/drawing/2014/main" id="{7E052C4E-02CB-48B6-BF21-FF07D7B0AA2B}"/>
              </a:ext>
            </a:extLst>
          </p:cNvPr>
          <p:cNvSpPr/>
          <p:nvPr/>
        </p:nvSpPr>
        <p:spPr>
          <a:xfrm>
            <a:off x="4103898" y="1053237"/>
            <a:ext cx="4096675" cy="5814189"/>
          </a:xfrm>
          <a:prstGeom prst="rect">
            <a:avLst/>
          </a:prstGeom>
          <a:solidFill>
            <a:srgbClr val="F8CBA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Obdélník 1">
            <a:extLst>
              <a:ext uri="{FF2B5EF4-FFF2-40B4-BE49-F238E27FC236}">
                <a16:creationId xmlns:a16="http://schemas.microsoft.com/office/drawing/2014/main" id="{DFFAEAE8-428F-4D53-A24F-CFC62EEC8454}"/>
              </a:ext>
            </a:extLst>
          </p:cNvPr>
          <p:cNvSpPr/>
          <p:nvPr/>
        </p:nvSpPr>
        <p:spPr>
          <a:xfrm>
            <a:off x="0" y="1053236"/>
            <a:ext cx="4096675" cy="581418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Obdélník 2"/>
          <p:cNvSpPr/>
          <p:nvPr/>
        </p:nvSpPr>
        <p:spPr>
          <a:xfrm>
            <a:off x="0" y="-24018"/>
            <a:ext cx="12192000" cy="64633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Indikátory</a:t>
            </a: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 </a:t>
            </a:r>
            <a:r>
              <a:rPr kumimoji="0" lang="cs-CZ" sz="3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rizikového vývoje </a:t>
            </a:r>
          </a:p>
        </p:txBody>
      </p:sp>
      <p:sp>
        <p:nvSpPr>
          <p:cNvPr id="11" name="Obdélník 10">
            <a:extLst>
              <a:ext uri="{FF2B5EF4-FFF2-40B4-BE49-F238E27FC236}">
                <a16:creationId xmlns:a16="http://schemas.microsoft.com/office/drawing/2014/main" id="{B6816809-E6B2-40E8-A88F-482EFC11C691}"/>
              </a:ext>
            </a:extLst>
          </p:cNvPr>
          <p:cNvSpPr/>
          <p:nvPr/>
        </p:nvSpPr>
        <p:spPr>
          <a:xfrm>
            <a:off x="512522" y="1494813"/>
            <a:ext cx="280720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Vysoká proočkovanost (&gt; 70% v populaci 16+)</a:t>
            </a:r>
          </a:p>
        </p:txBody>
      </p:sp>
      <p:sp>
        <p:nvSpPr>
          <p:cNvPr id="16" name="Obdélník 15">
            <a:extLst>
              <a:ext uri="{FF2B5EF4-FFF2-40B4-BE49-F238E27FC236}">
                <a16:creationId xmlns:a16="http://schemas.microsoft.com/office/drawing/2014/main" id="{37A8AB35-7AF2-4DC5-8CA3-E02C8D805D36}"/>
              </a:ext>
            </a:extLst>
          </p:cNvPr>
          <p:cNvSpPr/>
          <p:nvPr/>
        </p:nvSpPr>
        <p:spPr>
          <a:xfrm>
            <a:off x="1140245" y="1156222"/>
            <a:ext cx="134207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panose="020F0502020204030204"/>
                <a:ea typeface="+mn-ea"/>
                <a:cs typeface="+mn-cs"/>
              </a:rPr>
              <a:t>SCÉNÁŘ I</a:t>
            </a:r>
          </a:p>
        </p:txBody>
      </p:sp>
      <p:sp>
        <p:nvSpPr>
          <p:cNvPr id="17" name="Obdélník 16">
            <a:extLst>
              <a:ext uri="{FF2B5EF4-FFF2-40B4-BE49-F238E27FC236}">
                <a16:creationId xmlns:a16="http://schemas.microsoft.com/office/drawing/2014/main" id="{A409EB5D-A533-4587-9BB2-1AEC1A2C7541}"/>
              </a:ext>
            </a:extLst>
          </p:cNvPr>
          <p:cNvSpPr/>
          <p:nvPr/>
        </p:nvSpPr>
        <p:spPr>
          <a:xfrm>
            <a:off x="4499918" y="1545564"/>
            <a:ext cx="3162415"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Snížená proočkovano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cca 60% v populaci 16+)</a:t>
            </a:r>
          </a:p>
        </p:txBody>
      </p:sp>
      <p:sp>
        <p:nvSpPr>
          <p:cNvPr id="21" name="Obdélník 20">
            <a:extLst>
              <a:ext uri="{FF2B5EF4-FFF2-40B4-BE49-F238E27FC236}">
                <a16:creationId xmlns:a16="http://schemas.microsoft.com/office/drawing/2014/main" id="{938C5989-E24C-42AB-885C-845A5C4E8CB2}"/>
              </a:ext>
            </a:extLst>
          </p:cNvPr>
          <p:cNvSpPr/>
          <p:nvPr/>
        </p:nvSpPr>
        <p:spPr>
          <a:xfrm>
            <a:off x="5333107" y="1156223"/>
            <a:ext cx="134208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panose="020F0502020204030204"/>
                <a:ea typeface="+mn-ea"/>
                <a:cs typeface="+mn-cs"/>
              </a:rPr>
              <a:t>SCÉNÁŘ II</a:t>
            </a:r>
          </a:p>
        </p:txBody>
      </p:sp>
      <p:sp>
        <p:nvSpPr>
          <p:cNvPr id="26" name="Obdélník 25">
            <a:extLst>
              <a:ext uri="{FF2B5EF4-FFF2-40B4-BE49-F238E27FC236}">
                <a16:creationId xmlns:a16="http://schemas.microsoft.com/office/drawing/2014/main" id="{77C6452C-A8FC-47D8-A9DD-A3B1233DC39B}"/>
              </a:ext>
            </a:extLst>
          </p:cNvPr>
          <p:cNvSpPr/>
          <p:nvPr/>
        </p:nvSpPr>
        <p:spPr>
          <a:xfrm>
            <a:off x="8688567" y="1488557"/>
            <a:ext cx="2807208"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Nízká proočkovanost (&lt; 60% v populaci 16+)</a:t>
            </a:r>
          </a:p>
        </p:txBody>
      </p:sp>
      <p:sp>
        <p:nvSpPr>
          <p:cNvPr id="30" name="Obdélník 29">
            <a:extLst>
              <a:ext uri="{FF2B5EF4-FFF2-40B4-BE49-F238E27FC236}">
                <a16:creationId xmlns:a16="http://schemas.microsoft.com/office/drawing/2014/main" id="{283C6836-9C4D-46E7-9F13-1E5777E83D0F}"/>
              </a:ext>
            </a:extLst>
          </p:cNvPr>
          <p:cNvSpPr/>
          <p:nvPr/>
        </p:nvSpPr>
        <p:spPr>
          <a:xfrm>
            <a:off x="9352967" y="1183204"/>
            <a:ext cx="147840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panose="020F0502020204030204"/>
                <a:ea typeface="+mn-ea"/>
                <a:cs typeface="+mn-cs"/>
              </a:rPr>
              <a:t>SCÉNÁŘ III</a:t>
            </a:r>
          </a:p>
        </p:txBody>
      </p:sp>
      <p:sp>
        <p:nvSpPr>
          <p:cNvPr id="10" name="TextovéPole 9">
            <a:extLst>
              <a:ext uri="{FF2B5EF4-FFF2-40B4-BE49-F238E27FC236}">
                <a16:creationId xmlns:a16="http://schemas.microsoft.com/office/drawing/2014/main" id="{608A5942-0B98-4A59-9958-7B94101201AA}"/>
              </a:ext>
            </a:extLst>
          </p:cNvPr>
          <p:cNvSpPr txBox="1"/>
          <p:nvPr/>
        </p:nvSpPr>
        <p:spPr>
          <a:xfrm>
            <a:off x="0" y="530017"/>
            <a:ext cx="12192000"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Vývoj v závěru srpna – počátku září při stejném objemu testů. Pro včasné rozpoznání rizika a pro relevantní hodnocení časových trendů je zcela zásadní udržení dostatečného objemu testů, plná dostupnost testů preventivních a včasné provedení a vytěžení testů indikovaných.</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TextovéPole 30">
            <a:extLst>
              <a:ext uri="{FF2B5EF4-FFF2-40B4-BE49-F238E27FC236}">
                <a16:creationId xmlns:a16="http://schemas.microsoft.com/office/drawing/2014/main" id="{3BA34900-CD7E-4EE1-9849-85657F099ED2}"/>
              </a:ext>
            </a:extLst>
          </p:cNvPr>
          <p:cNvSpPr txBox="1"/>
          <p:nvPr/>
        </p:nvSpPr>
        <p:spPr>
          <a:xfrm>
            <a:off x="139499" y="2273318"/>
            <a:ext cx="3190875" cy="265457"/>
          </a:xfrm>
          <a:prstGeom prst="rect">
            <a:avLst/>
          </a:prstGeom>
          <a:noFill/>
        </p:spPr>
        <p:txBody>
          <a:bodyPr wrap="square" rtlCol="0">
            <a:spAutoFit/>
          </a:bodyPr>
          <a:lstStyle/>
          <a:p>
            <a:pPr marL="457200" marR="0" lvl="0" indent="-228600" algn="l" defTabSz="914400" rtl="0" eaLnBrk="1" fontAlgn="auto" latinLnBrk="0" hangingPunct="1">
              <a:lnSpc>
                <a:spcPct val="107000"/>
              </a:lnSpc>
              <a:spcBef>
                <a:spcPts val="0"/>
              </a:spcBef>
              <a:spcAft>
                <a:spcPts val="0"/>
              </a:spcAft>
              <a:buClrTx/>
              <a:buSzTx/>
              <a:buFontTx/>
              <a:buNone/>
              <a:tabLst>
                <a:tab pos="457200" algn="l"/>
              </a:tabLst>
              <a:defRPr/>
            </a:pPr>
            <a:endParaRPr kumimoji="0" lang="cs-CZ"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Tabulka 6"/>
          <p:cNvGraphicFramePr>
            <a:graphicFrameLocks noGrp="1"/>
          </p:cNvGraphicFramePr>
          <p:nvPr>
            <p:custDataLst>
              <p:tags r:id="rId1"/>
            </p:custDataLst>
            <p:extLst>
              <p:ext uri="{D42A27DB-BD31-4B8C-83A1-F6EECF244321}">
                <p14:modId xmlns:p14="http://schemas.microsoft.com/office/powerpoint/2010/main" val="890017217"/>
              </p:ext>
            </p:extLst>
          </p:nvPr>
        </p:nvGraphicFramePr>
        <p:xfrm>
          <a:off x="239628" y="2253033"/>
          <a:ext cx="3486766" cy="4414176"/>
        </p:xfrm>
        <a:graphic>
          <a:graphicData uri="http://schemas.openxmlformats.org/drawingml/2006/table">
            <a:tbl>
              <a:tblPr firstRow="1" firstCol="1" bandRow="1">
                <a:tableStyleId>{5C22544A-7EE6-4342-B048-85BDC9FD1C3A}</a:tableStyleId>
              </a:tblPr>
              <a:tblGrid>
                <a:gridCol w="2446422">
                  <a:extLst>
                    <a:ext uri="{9D8B030D-6E8A-4147-A177-3AD203B41FA5}">
                      <a16:colId xmlns:a16="http://schemas.microsoft.com/office/drawing/2014/main" val="1039761853"/>
                    </a:ext>
                  </a:extLst>
                </a:gridCol>
                <a:gridCol w="1040344">
                  <a:extLst>
                    <a:ext uri="{9D8B030D-6E8A-4147-A177-3AD203B41FA5}">
                      <a16:colId xmlns:a16="http://schemas.microsoft.com/office/drawing/2014/main" val="3581028306"/>
                    </a:ext>
                  </a:extLst>
                </a:gridCol>
              </a:tblGrid>
              <a:tr h="411117">
                <a:tc>
                  <a:txBody>
                    <a:bodyPr/>
                    <a:lstStyle/>
                    <a:p>
                      <a:pPr marL="228600" algn="ctr">
                        <a:lnSpc>
                          <a:spcPct val="107000"/>
                        </a:lnSpc>
                        <a:spcAft>
                          <a:spcPts val="0"/>
                        </a:spcAft>
                      </a:pPr>
                      <a:r>
                        <a:rPr lang="cs-CZ" sz="1050" dirty="0">
                          <a:solidFill>
                            <a:schemeClr val="tx1"/>
                          </a:solidFill>
                          <a:effectLst/>
                        </a:rPr>
                        <a:t>Sledované Hodnoty</a:t>
                      </a:r>
                      <a:endParaRPr lang="cs-CZ"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cs-CZ" sz="1100" dirty="0">
                          <a:solidFill>
                            <a:schemeClr val="tx1"/>
                          </a:solidFill>
                          <a:effectLst/>
                        </a:rPr>
                        <a:t>Stav k datu </a:t>
                      </a:r>
                    </a:p>
                    <a:p>
                      <a:pPr algn="ctr">
                        <a:lnSpc>
                          <a:spcPct val="107000"/>
                        </a:lnSpc>
                        <a:spcAft>
                          <a:spcPts val="0"/>
                        </a:spcAft>
                      </a:pPr>
                      <a:r>
                        <a:rPr lang="cs-CZ" sz="1100" dirty="0">
                          <a:solidFill>
                            <a:schemeClr val="tx1"/>
                          </a:solidFill>
                          <a:effectLst/>
                        </a:rPr>
                        <a:t>18. 09. 2021</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01481214"/>
                  </a:ext>
                </a:extLst>
              </a:tr>
              <a:tr h="170996">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 dlouhodobě &lt; 1</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ctr" defTabSz="914400" rtl="0" eaLnBrk="1" latinLnBrk="0" hangingPunct="1">
                        <a:lnSpc>
                          <a:spcPct val="107000"/>
                        </a:lnSpc>
                        <a:spcAft>
                          <a:spcPts val="0"/>
                        </a:spcAft>
                      </a:pPr>
                      <a:r>
                        <a:rPr lang="en-US" sz="1000" b="1" kern="1200" dirty="0">
                          <a:solidFill>
                            <a:schemeClr val="tx1"/>
                          </a:solidFill>
                          <a:effectLst/>
                          <a:latin typeface="+mn-lt"/>
                          <a:ea typeface="+mn-ea"/>
                          <a:cs typeface="+mn-cs"/>
                        </a:rPr>
                        <a:t>1.11</a:t>
                      </a:r>
                      <a:endParaRPr lang="cs-CZ" sz="10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949944530"/>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7denní záchyty : 10 – 25 / 100 tis. obyv. (350den)</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ctr" defTabSz="914400" rtl="0" eaLnBrk="1" latinLnBrk="0" hangingPunct="1">
                        <a:lnSpc>
                          <a:spcPct val="107000"/>
                        </a:lnSpc>
                        <a:spcAft>
                          <a:spcPts val="0"/>
                        </a:spcAft>
                      </a:pPr>
                      <a:r>
                        <a:rPr lang="cs-CZ" sz="1000" b="1" kern="1200" dirty="0">
                          <a:solidFill>
                            <a:schemeClr val="tx1"/>
                          </a:solidFill>
                          <a:effectLst/>
                          <a:latin typeface="+mn-lt"/>
                          <a:ea typeface="+mn-ea"/>
                          <a:cs typeface="+mn-cs"/>
                        </a:rPr>
                        <a:t>2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637227092"/>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elativní pozitivita indikovaných testů (Dg + </a:t>
                      </a:r>
                      <a:r>
                        <a:rPr lang="cs-CZ" sz="900" dirty="0" err="1">
                          <a:solidFill>
                            <a:schemeClr val="tx1"/>
                          </a:solidFill>
                          <a:effectLst/>
                        </a:rPr>
                        <a:t>Epi</a:t>
                      </a:r>
                      <a:r>
                        <a:rPr lang="cs-CZ" sz="900" dirty="0">
                          <a:solidFill>
                            <a:schemeClr val="tx1"/>
                          </a:solidFill>
                          <a:effectLst/>
                        </a:rPr>
                        <a:t>): celkem &lt; 4 – 5% (senioři 6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ctr" defTabSz="914400" rtl="0" eaLnBrk="1" latinLnBrk="0" hangingPunct="1">
                        <a:lnSpc>
                          <a:spcPct val="107000"/>
                        </a:lnSpc>
                        <a:spcAft>
                          <a:spcPts val="0"/>
                        </a:spcAft>
                      </a:pPr>
                      <a:r>
                        <a:rPr lang="cs-CZ" sz="1000" b="1" kern="1200" dirty="0">
                          <a:solidFill>
                            <a:schemeClr val="tx1"/>
                          </a:solidFill>
                          <a:effectLst/>
                          <a:latin typeface="+mn-lt"/>
                          <a:ea typeface="+mn-ea"/>
                          <a:cs typeface="+mn-cs"/>
                        </a:rPr>
                        <a:t>2.3% (1</a:t>
                      </a:r>
                      <a:r>
                        <a:rPr lang="en-US" sz="1000" b="1" kern="1200" dirty="0">
                          <a:solidFill>
                            <a:schemeClr val="tx1"/>
                          </a:solidFill>
                          <a:effectLst/>
                          <a:latin typeface="+mn-lt"/>
                          <a:ea typeface="+mn-ea"/>
                          <a:cs typeface="+mn-cs"/>
                        </a:rPr>
                        <a:t>.</a:t>
                      </a:r>
                      <a:r>
                        <a:rPr lang="cs-CZ" sz="1000" b="1" kern="1200" dirty="0">
                          <a:solidFill>
                            <a:schemeClr val="tx1"/>
                          </a:solidFill>
                          <a:effectLst/>
                          <a:latin typeface="+mn-lt"/>
                          <a:ea typeface="+mn-ea"/>
                          <a:cs typeface="+mn-cs"/>
                        </a:rPr>
                        <a:t>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797462542"/>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Specifické šíření v populaci &lt; 50 let (většina nákaz v tomto věku, &gt; 60%)</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cs-CZ" sz="900" b="1" dirty="0">
                          <a:solidFill>
                            <a:schemeClr val="tx1"/>
                          </a:solidFill>
                          <a:effectLst/>
                        </a:rPr>
                        <a:t>Ano (</a:t>
                      </a:r>
                      <a:r>
                        <a:rPr lang="en-US" sz="900" b="1" dirty="0">
                          <a:solidFill>
                            <a:schemeClr val="tx1"/>
                          </a:solidFill>
                          <a:effectLst/>
                        </a:rPr>
                        <a:t>81.2</a:t>
                      </a:r>
                      <a:r>
                        <a:rPr lang="cs-CZ" sz="900" b="1" dirty="0">
                          <a:solidFill>
                            <a:schemeClr val="tx1"/>
                          </a:solidFill>
                          <a:effectLst/>
                        </a:rPr>
                        <a:t>%) </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7521848"/>
                  </a:ext>
                </a:extLst>
              </a:tr>
              <a:tr h="57236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ízký zásah zranitelných skupin, 7 denní záchyty v populaci 65+ nižší než 12,5/100tis. obyv.</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ctr" defTabSz="914400" rtl="0" eaLnBrk="1" latinLnBrk="0" hangingPunct="1">
                        <a:lnSpc>
                          <a:spcPct val="107000"/>
                        </a:lnSpc>
                        <a:spcAft>
                          <a:spcPts val="0"/>
                        </a:spcAft>
                      </a:pPr>
                      <a:r>
                        <a:rPr lang="en-US" sz="900" b="1" kern="1200" dirty="0">
                          <a:solidFill>
                            <a:schemeClr val="tx1"/>
                          </a:solidFill>
                          <a:effectLst/>
                          <a:latin typeface="+mn-lt"/>
                          <a:ea typeface="+mn-ea"/>
                          <a:cs typeface="+mn-cs"/>
                        </a:rPr>
                        <a:t>10.5 </a:t>
                      </a:r>
                      <a:endParaRPr lang="cs-CZ" sz="9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87932912"/>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ákazy po vakcinaci nerostou v populaci 65+, efekt redukce nákaz &gt; 7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cs-CZ" sz="900" b="1" dirty="0">
                          <a:solidFill>
                            <a:schemeClr val="tx1"/>
                          </a:solidFill>
                          <a:effectLst/>
                        </a:rPr>
                        <a:t>Nerostou, </a:t>
                      </a:r>
                      <a:r>
                        <a:rPr lang="en-US" sz="900" b="1" dirty="0">
                          <a:solidFill>
                            <a:schemeClr val="tx1"/>
                          </a:solidFill>
                          <a:effectLst/>
                        </a:rPr>
                        <a:t>23.3</a:t>
                      </a:r>
                      <a:r>
                        <a:rPr lang="cs-CZ" sz="900" b="1" dirty="0">
                          <a:solidFill>
                            <a:schemeClr val="tx1"/>
                          </a:solidFill>
                          <a:effectLst/>
                        </a:rPr>
                        <a:t>%</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277752783"/>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gt; 90% nakažených po vakcinaci má mírný průběh nemoci</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cs-CZ" sz="900" b="1" dirty="0">
                          <a:solidFill>
                            <a:schemeClr val="tx1"/>
                          </a:solidFill>
                          <a:effectLst/>
                        </a:rPr>
                        <a:t>9</a:t>
                      </a:r>
                      <a:r>
                        <a:rPr lang="en-US" sz="900" b="1" dirty="0">
                          <a:solidFill>
                            <a:schemeClr val="tx1"/>
                          </a:solidFill>
                          <a:effectLst/>
                        </a:rPr>
                        <a:t>8</a:t>
                      </a:r>
                      <a:r>
                        <a:rPr lang="cs-CZ" sz="900" b="1" dirty="0">
                          <a:solidFill>
                            <a:schemeClr val="tx1"/>
                          </a:solidFill>
                          <a:effectLst/>
                        </a:rPr>
                        <a:t>%</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816672984"/>
                  </a:ext>
                </a:extLst>
              </a:tr>
              <a:tr h="68398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eroste počet symptomatických případů (max 30-40% diagnostikovaných)</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cs-CZ" sz="900" b="1" dirty="0">
                          <a:solidFill>
                            <a:schemeClr val="tx1"/>
                          </a:solidFill>
                          <a:effectLst/>
                        </a:rPr>
                        <a:t>Neroste, </a:t>
                      </a:r>
                      <a:r>
                        <a:rPr lang="en-US" sz="900" b="1" dirty="0">
                          <a:solidFill>
                            <a:schemeClr val="tx1"/>
                          </a:solidFill>
                          <a:effectLst/>
                        </a:rPr>
                        <a:t>35</a:t>
                      </a:r>
                      <a:r>
                        <a:rPr lang="cs-CZ" sz="900" b="1" dirty="0">
                          <a:solidFill>
                            <a:schemeClr val="tx1"/>
                          </a:solidFill>
                          <a:effectLst/>
                        </a:rPr>
                        <a:t>%</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179774007"/>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Příjmy do nemocnic: &lt; 15 - 20 průměrně denně </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en-US"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8</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5549914"/>
                  </a:ext>
                </a:extLst>
              </a:tr>
              <a:tr h="34199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Obsazenost JIP: &lt; 10% celkové kapacity</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lnSpc>
                          <a:spcPct val="107000"/>
                        </a:lnSpc>
                        <a:spcAft>
                          <a:spcPts val="0"/>
                        </a:spcAft>
                      </a:pPr>
                      <a:r>
                        <a:rPr lang="en-US" sz="900" b="1" dirty="0">
                          <a:solidFill>
                            <a:schemeClr val="tx1"/>
                          </a:solidFill>
                          <a:effectLst/>
                        </a:rPr>
                        <a:t>1.0</a:t>
                      </a:r>
                      <a:r>
                        <a:rPr lang="cs-CZ" sz="900" b="1" dirty="0">
                          <a:solidFill>
                            <a:schemeClr val="tx1"/>
                          </a:solidFill>
                          <a:effectLst/>
                        </a:rPr>
                        <a:t>%</a:t>
                      </a:r>
                      <a:endParaRPr lang="cs-CZ" sz="9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956690936"/>
                  </a:ext>
                </a:extLst>
              </a:tr>
            </a:tbl>
          </a:graphicData>
        </a:graphic>
      </p:graphicFrame>
      <p:graphicFrame>
        <p:nvGraphicFramePr>
          <p:cNvPr id="23" name="Tabulka 22"/>
          <p:cNvGraphicFramePr>
            <a:graphicFrameLocks noGrp="1"/>
          </p:cNvGraphicFramePr>
          <p:nvPr>
            <p:custDataLst>
              <p:tags r:id="rId2"/>
            </p:custDataLst>
            <p:extLst>
              <p:ext uri="{D42A27DB-BD31-4B8C-83A1-F6EECF244321}">
                <p14:modId xmlns:p14="http://schemas.microsoft.com/office/powerpoint/2010/main" val="3950334022"/>
              </p:ext>
            </p:extLst>
          </p:nvPr>
        </p:nvGraphicFramePr>
        <p:xfrm>
          <a:off x="4469697" y="2253033"/>
          <a:ext cx="3526673" cy="4516933"/>
        </p:xfrm>
        <a:graphic>
          <a:graphicData uri="http://schemas.openxmlformats.org/drawingml/2006/table">
            <a:tbl>
              <a:tblPr firstRow="1" firstCol="1" bandRow="1">
                <a:tableStyleId>{5C22544A-7EE6-4342-B048-85BDC9FD1C3A}</a:tableStyleId>
              </a:tblPr>
              <a:tblGrid>
                <a:gridCol w="2457648">
                  <a:extLst>
                    <a:ext uri="{9D8B030D-6E8A-4147-A177-3AD203B41FA5}">
                      <a16:colId xmlns:a16="http://schemas.microsoft.com/office/drawing/2014/main" val="2344702396"/>
                    </a:ext>
                  </a:extLst>
                </a:gridCol>
                <a:gridCol w="1069025">
                  <a:extLst>
                    <a:ext uri="{9D8B030D-6E8A-4147-A177-3AD203B41FA5}">
                      <a16:colId xmlns:a16="http://schemas.microsoft.com/office/drawing/2014/main" val="1004417482"/>
                    </a:ext>
                  </a:extLst>
                </a:gridCol>
              </a:tblGrid>
              <a:tr h="402640">
                <a:tc>
                  <a:txBody>
                    <a:bodyPr/>
                    <a:lstStyle/>
                    <a:p>
                      <a:pPr algn="ctr">
                        <a:lnSpc>
                          <a:spcPct val="107000"/>
                        </a:lnSpc>
                        <a:spcAft>
                          <a:spcPts val="0"/>
                        </a:spcAft>
                      </a:pPr>
                      <a:r>
                        <a:rPr lang="cs-CZ" sz="1100" dirty="0">
                          <a:solidFill>
                            <a:schemeClr val="tx1"/>
                          </a:solidFill>
                          <a:effectLst/>
                        </a:rPr>
                        <a:t>Sledované hodnoty</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100" dirty="0">
                          <a:solidFill>
                            <a:schemeClr val="tx1"/>
                          </a:solidFill>
                          <a:effectLst/>
                        </a:rPr>
                        <a:t>Stav k datu</a:t>
                      </a:r>
                    </a:p>
                    <a:p>
                      <a:pPr algn="ctr">
                        <a:lnSpc>
                          <a:spcPct val="107000"/>
                        </a:lnSpc>
                        <a:spcAft>
                          <a:spcPts val="0"/>
                        </a:spcAft>
                      </a:pPr>
                      <a:r>
                        <a:rPr lang="cs-CZ" sz="1100" dirty="0">
                          <a:solidFill>
                            <a:schemeClr val="tx1"/>
                          </a:solidFill>
                          <a:effectLst/>
                        </a:rPr>
                        <a:t>18. 09. 2021</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496979008"/>
                  </a:ext>
                </a:extLst>
              </a:tr>
              <a:tr h="173553">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 dlouhodobě &gt; 1</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marL="0" algn="ctr" defTabSz="914400" rtl="0" eaLnBrk="1" latinLnBrk="0" hangingPunct="1">
                        <a:lnSpc>
                          <a:spcPct val="107000"/>
                        </a:lnSpc>
                        <a:spcAft>
                          <a:spcPts val="0"/>
                        </a:spcAft>
                      </a:pPr>
                      <a:r>
                        <a:rPr lang="en-US" sz="1000" b="1" kern="1200" dirty="0">
                          <a:solidFill>
                            <a:schemeClr val="tx1"/>
                          </a:solidFill>
                          <a:effectLst/>
                          <a:latin typeface="+mn-lt"/>
                          <a:ea typeface="+mn-ea"/>
                          <a:cs typeface="+mn-cs"/>
                        </a:rPr>
                        <a:t>1.11</a:t>
                      </a:r>
                      <a:endParaRPr lang="cs-CZ" sz="10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178315878"/>
                  </a:ext>
                </a:extLst>
              </a:tr>
              <a:tr h="31136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7denní záchyty:  &gt;25/ 100 tis. obyv. (&gt; 350 den)</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28.0</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041192381"/>
                  </a:ext>
                </a:extLst>
              </a:tr>
              <a:tr h="622732">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elativní pozitivita indikovaných testů (Dg + </a:t>
                      </a:r>
                      <a:r>
                        <a:rPr lang="cs-CZ" sz="900" dirty="0" err="1">
                          <a:solidFill>
                            <a:schemeClr val="tx1"/>
                          </a:solidFill>
                          <a:effectLst/>
                        </a:rPr>
                        <a:t>Epi</a:t>
                      </a:r>
                      <a:r>
                        <a:rPr lang="cs-CZ" sz="900" dirty="0">
                          <a:solidFill>
                            <a:schemeClr val="tx1"/>
                          </a:solidFill>
                          <a:effectLst/>
                        </a:rPr>
                        <a:t>): &gt; 5 až 10% především u mladých lidí (u seniorů &lt; 4-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2.3% (1</a:t>
                      </a:r>
                      <a:r>
                        <a:rPr lang="en-US" sz="1000" b="1" dirty="0">
                          <a:solidFill>
                            <a:schemeClr val="tx1"/>
                          </a:solidFill>
                          <a:effectLst/>
                        </a:rPr>
                        <a:t>.</a:t>
                      </a:r>
                      <a:r>
                        <a:rPr lang="cs-CZ" sz="1000" b="1" dirty="0">
                          <a:solidFill>
                            <a:schemeClr val="tx1"/>
                          </a:solidFill>
                          <a:effectLst/>
                        </a:rPr>
                        <a:t>9%)</a:t>
                      </a:r>
                      <a:endPar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827972511"/>
                  </a:ext>
                </a:extLst>
              </a:tr>
              <a:tr h="484825">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ízký zásah zranitelných skupin, 7 denní záchyty v populaci 65+ nižší než 12,5/100tis. obyv.</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marL="0" algn="ctr" defTabSz="914400" rtl="0" eaLnBrk="1" latinLnBrk="0" hangingPunct="1">
                        <a:lnSpc>
                          <a:spcPct val="107000"/>
                        </a:lnSpc>
                        <a:spcAft>
                          <a:spcPts val="0"/>
                        </a:spcAft>
                      </a:pPr>
                      <a:r>
                        <a:rPr lang="en-US" sz="1000" b="1" kern="1200" dirty="0">
                          <a:solidFill>
                            <a:schemeClr val="tx1"/>
                          </a:solidFill>
                          <a:effectLst/>
                          <a:latin typeface="+mn-lt"/>
                          <a:ea typeface="+mn-ea"/>
                          <a:cs typeface="+mn-cs"/>
                        </a:rPr>
                        <a:t>10.5</a:t>
                      </a:r>
                      <a:endParaRPr lang="cs-CZ" sz="10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950625468"/>
                  </a:ext>
                </a:extLst>
              </a:tr>
              <a:tr h="467049">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Přes 60% nakažených jsou neočkovaní, &lt; 20% je po 2.dávce </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latin typeface="+mn-lt"/>
                          <a:ea typeface="+mn-ea"/>
                          <a:cs typeface="+mn-cs"/>
                        </a:rPr>
                        <a:t>81%</a:t>
                      </a:r>
                      <a:r>
                        <a:rPr lang="en-US" sz="1000" b="1" dirty="0">
                          <a:solidFill>
                            <a:schemeClr val="tx1"/>
                          </a:solidFill>
                          <a:effectLst/>
                          <a:latin typeface="+mn-lt"/>
                          <a:ea typeface="+mn-ea"/>
                          <a:cs typeface="+mn-cs"/>
                        </a:rPr>
                        <a:t> </a:t>
                      </a:r>
                      <a:r>
                        <a:rPr lang="cs-CZ" sz="1000" b="1" dirty="0">
                          <a:solidFill>
                            <a:schemeClr val="tx1"/>
                          </a:solidFill>
                          <a:effectLst/>
                          <a:latin typeface="+mn-lt"/>
                          <a:ea typeface="+mn-ea"/>
                          <a:cs typeface="+mn-cs"/>
                        </a:rPr>
                        <a:t>/ 1</a:t>
                      </a:r>
                      <a:r>
                        <a:rPr lang="en-US" sz="1000" b="1" dirty="0">
                          <a:solidFill>
                            <a:schemeClr val="tx1"/>
                          </a:solidFill>
                          <a:effectLst/>
                          <a:latin typeface="+mn-lt"/>
                          <a:ea typeface="+mn-ea"/>
                          <a:cs typeface="+mn-cs"/>
                        </a:rPr>
                        <a:t>8</a:t>
                      </a:r>
                      <a:r>
                        <a:rPr lang="cs-CZ" sz="1000" b="1" dirty="0">
                          <a:solidFill>
                            <a:schemeClr val="tx1"/>
                          </a:solidFill>
                          <a:effectLst/>
                          <a:latin typeface="+mn-lt"/>
                          <a:ea typeface="+mn-ea"/>
                          <a:cs typeface="+mn-cs"/>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170725229"/>
                  </a:ext>
                </a:extLst>
              </a:tr>
              <a:tr h="467049">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ákazy po vakcinaci nerostou v populaci 65+, efekt redukce nákaz &gt; 7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Nerostou, </a:t>
                      </a:r>
                      <a:r>
                        <a:rPr lang="en-US" sz="1000" b="1" dirty="0">
                          <a:solidFill>
                            <a:schemeClr val="tx1"/>
                          </a:solidFill>
                          <a:effectLst/>
                        </a:rPr>
                        <a:t>23.3</a:t>
                      </a:r>
                      <a:r>
                        <a:rPr lang="cs-CZ" sz="1000" b="1" dirty="0">
                          <a:solidFill>
                            <a:schemeClr val="tx1"/>
                          </a:solidFill>
                          <a:effectLst/>
                        </a:rPr>
                        <a:t>%</a:t>
                      </a:r>
                      <a:endPar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90392969"/>
                  </a:ext>
                </a:extLst>
              </a:tr>
              <a:tr h="342252">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 &gt; 90% nakažených po vakcinaci má mírný průběh nemoci</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9</a:t>
                      </a:r>
                      <a:r>
                        <a:rPr lang="en-U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8</a:t>
                      </a:r>
                      <a:r>
                        <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114254238"/>
                  </a:ext>
                </a:extLst>
              </a:tr>
              <a:tr h="622732">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S růstem počtu nakažených roste počet symptomatických případů </a:t>
                      </a:r>
                    </a:p>
                    <a:p>
                      <a:pPr marL="0" lvl="0" indent="0">
                        <a:lnSpc>
                          <a:spcPct val="107000"/>
                        </a:lnSpc>
                        <a:spcAft>
                          <a:spcPts val="0"/>
                        </a:spcAft>
                        <a:buFont typeface="Wingdings" panose="05000000000000000000" pitchFamily="2" charset="2"/>
                        <a:buNone/>
                        <a:tabLst>
                          <a:tab pos="457200" algn="l"/>
                        </a:tabLst>
                      </a:pPr>
                      <a:r>
                        <a:rPr lang="cs-CZ" sz="900" dirty="0">
                          <a:solidFill>
                            <a:schemeClr val="tx1"/>
                          </a:solidFill>
                          <a:effectLst/>
                        </a:rPr>
                        <a:t>           (&gt; 40% diagnostikovaných)</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 NE (</a:t>
                      </a:r>
                      <a:r>
                        <a:rPr lang="en-US" sz="1000" b="1" dirty="0">
                          <a:solidFill>
                            <a:schemeClr val="tx1"/>
                          </a:solidFill>
                          <a:effectLst/>
                        </a:rPr>
                        <a:t>35</a:t>
                      </a:r>
                      <a:r>
                        <a:rPr lang="cs-CZ" sz="1000" b="1" dirty="0">
                          <a:solidFill>
                            <a:schemeClr val="tx1"/>
                          </a:solidFill>
                          <a:effectLst/>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234204539"/>
                  </a:ext>
                </a:extLst>
              </a:tr>
              <a:tr h="31136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Příjmy do nemocnic: 20 - 30 denně, rostoucí trend</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NE (</a:t>
                      </a:r>
                      <a:r>
                        <a:rPr lang="en-US" sz="1000" b="1" dirty="0">
                          <a:solidFill>
                            <a:schemeClr val="tx1"/>
                          </a:solidFill>
                          <a:effectLst/>
                        </a:rPr>
                        <a:t>18</a:t>
                      </a:r>
                      <a:r>
                        <a:rPr lang="cs-CZ" sz="1000" b="1" dirty="0">
                          <a:solidFill>
                            <a:schemeClr val="tx1"/>
                          </a:solidFill>
                          <a:effectLst/>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801696368"/>
                  </a:ext>
                </a:extLst>
              </a:tr>
              <a:tr h="31136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iziková obsazenost JIP: 10 - 20% celkové kapacity</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en-US" sz="1000" b="1" dirty="0">
                          <a:solidFill>
                            <a:schemeClr val="tx1"/>
                          </a:solidFill>
                          <a:effectLst/>
                        </a:rPr>
                        <a:t>1.0</a:t>
                      </a:r>
                      <a:r>
                        <a:rPr lang="cs-CZ" sz="1000" b="1" dirty="0">
                          <a:solidFill>
                            <a:schemeClr val="tx1"/>
                          </a:solidFill>
                          <a:effectLst/>
                        </a:rPr>
                        <a:t>%</a:t>
                      </a:r>
                      <a:endPar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537505496"/>
                  </a:ext>
                </a:extLst>
              </a:tr>
            </a:tbl>
          </a:graphicData>
        </a:graphic>
      </p:graphicFrame>
      <p:graphicFrame>
        <p:nvGraphicFramePr>
          <p:cNvPr id="28" name="Tabulka 27"/>
          <p:cNvGraphicFramePr>
            <a:graphicFrameLocks noGrp="1"/>
          </p:cNvGraphicFramePr>
          <p:nvPr>
            <p:custDataLst>
              <p:tags r:id="rId3"/>
            </p:custDataLst>
            <p:extLst>
              <p:ext uri="{D42A27DB-BD31-4B8C-83A1-F6EECF244321}">
                <p14:modId xmlns:p14="http://schemas.microsoft.com/office/powerpoint/2010/main" val="3875468824"/>
              </p:ext>
            </p:extLst>
          </p:nvPr>
        </p:nvGraphicFramePr>
        <p:xfrm>
          <a:off x="8566371" y="2264254"/>
          <a:ext cx="3395643" cy="4414863"/>
        </p:xfrm>
        <a:graphic>
          <a:graphicData uri="http://schemas.openxmlformats.org/drawingml/2006/table">
            <a:tbl>
              <a:tblPr firstRow="1" firstCol="1" bandRow="1">
                <a:tableStyleId>{5C22544A-7EE6-4342-B048-85BDC9FD1C3A}</a:tableStyleId>
              </a:tblPr>
              <a:tblGrid>
                <a:gridCol w="2356379">
                  <a:extLst>
                    <a:ext uri="{9D8B030D-6E8A-4147-A177-3AD203B41FA5}">
                      <a16:colId xmlns:a16="http://schemas.microsoft.com/office/drawing/2014/main" val="3042265272"/>
                    </a:ext>
                  </a:extLst>
                </a:gridCol>
                <a:gridCol w="1039264">
                  <a:extLst>
                    <a:ext uri="{9D8B030D-6E8A-4147-A177-3AD203B41FA5}">
                      <a16:colId xmlns:a16="http://schemas.microsoft.com/office/drawing/2014/main" val="4075738211"/>
                    </a:ext>
                  </a:extLst>
                </a:gridCol>
              </a:tblGrid>
              <a:tr h="374992">
                <a:tc>
                  <a:txBody>
                    <a:bodyPr/>
                    <a:lstStyle/>
                    <a:p>
                      <a:pPr algn="ctr">
                        <a:lnSpc>
                          <a:spcPct val="107000"/>
                        </a:lnSpc>
                        <a:spcAft>
                          <a:spcPts val="0"/>
                        </a:spcAft>
                      </a:pPr>
                      <a:r>
                        <a:rPr lang="cs-CZ" sz="1100" dirty="0">
                          <a:solidFill>
                            <a:schemeClr val="tx1"/>
                          </a:solidFill>
                          <a:effectLst/>
                        </a:rPr>
                        <a:t>Sledované hodnoty</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100" dirty="0">
                          <a:solidFill>
                            <a:schemeClr val="tx1"/>
                          </a:solidFill>
                          <a:effectLst/>
                        </a:rPr>
                        <a:t>Stav k datu</a:t>
                      </a:r>
                    </a:p>
                    <a:p>
                      <a:pPr algn="ctr">
                        <a:lnSpc>
                          <a:spcPct val="107000"/>
                        </a:lnSpc>
                        <a:spcAft>
                          <a:spcPts val="0"/>
                        </a:spcAft>
                      </a:pPr>
                      <a:r>
                        <a:rPr lang="cs-CZ" sz="1100" dirty="0">
                          <a:solidFill>
                            <a:schemeClr val="tx1"/>
                          </a:solidFill>
                          <a:effectLst/>
                        </a:rPr>
                        <a:t>18. 09. 2021</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780763697"/>
                  </a:ext>
                </a:extLst>
              </a:tr>
              <a:tr h="177471">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 dlouhodobě &gt; 1</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marL="0" algn="ctr" defTabSz="914400" rtl="0" eaLnBrk="1" latinLnBrk="0" hangingPunct="1">
                        <a:lnSpc>
                          <a:spcPct val="107000"/>
                        </a:lnSpc>
                        <a:spcAft>
                          <a:spcPts val="0"/>
                        </a:spcAft>
                      </a:pPr>
                      <a:r>
                        <a:rPr lang="en-US" sz="1000" b="1" kern="1200" dirty="0">
                          <a:solidFill>
                            <a:schemeClr val="tx1"/>
                          </a:solidFill>
                          <a:effectLst/>
                          <a:latin typeface="+mn-lt"/>
                          <a:ea typeface="+mn-ea"/>
                          <a:cs typeface="+mn-cs"/>
                        </a:rPr>
                        <a:t>1.11</a:t>
                      </a:r>
                      <a:endParaRPr lang="cs-CZ" sz="10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197148209"/>
                  </a:ext>
                </a:extLst>
              </a:tr>
              <a:tr h="356719">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7denní záchyty : &gt;50/ 100 tis. obyv. (&gt; 750 den)</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28.0</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586896819"/>
                  </a:ext>
                </a:extLst>
              </a:tr>
              <a:tr h="53967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elativní pozitivita indikovaných testů (Dg + </a:t>
                      </a:r>
                      <a:r>
                        <a:rPr lang="cs-CZ" sz="900" dirty="0" err="1">
                          <a:solidFill>
                            <a:schemeClr val="tx1"/>
                          </a:solidFill>
                          <a:effectLst/>
                        </a:rPr>
                        <a:t>Epi</a:t>
                      </a:r>
                      <a:r>
                        <a:rPr lang="cs-CZ" sz="900" dirty="0">
                          <a:solidFill>
                            <a:schemeClr val="tx1"/>
                          </a:solidFill>
                          <a:effectLst/>
                        </a:rPr>
                        <a:t>): &gt; 5 – 10% (u seniorů &gt; 4-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2.3% (1</a:t>
                      </a:r>
                      <a:r>
                        <a:rPr lang="en-US" sz="1000" b="1" dirty="0">
                          <a:solidFill>
                            <a:schemeClr val="tx1"/>
                          </a:solidFill>
                          <a:effectLst/>
                        </a:rPr>
                        <a:t>.</a:t>
                      </a:r>
                      <a:r>
                        <a:rPr lang="cs-CZ" sz="1000" b="1" dirty="0">
                          <a:solidFill>
                            <a:schemeClr val="tx1"/>
                          </a:solidFill>
                          <a:effectLst/>
                        </a:rPr>
                        <a:t>9%)</a:t>
                      </a:r>
                      <a:endPar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790272901"/>
                  </a:ext>
                </a:extLst>
              </a:tr>
              <a:tr h="722634">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Nákazy po vakcinaci významně rostou v</a:t>
                      </a:r>
                      <a:r>
                        <a:rPr lang="cs-CZ" sz="900" baseline="0" dirty="0">
                          <a:solidFill>
                            <a:schemeClr val="tx1"/>
                          </a:solidFill>
                          <a:effectLst/>
                        </a:rPr>
                        <a:t> </a:t>
                      </a:r>
                      <a:r>
                        <a:rPr lang="cs-CZ" sz="900" dirty="0">
                          <a:solidFill>
                            <a:schemeClr val="tx1"/>
                          </a:solidFill>
                          <a:effectLst/>
                        </a:rPr>
                        <a:t>populaci seniorů 65+, včetně řady ohnisek, efekt redukce nákaz &lt; 75%</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NE (</a:t>
                      </a:r>
                      <a:r>
                        <a:rPr lang="en-US" sz="1000" b="1" dirty="0">
                          <a:solidFill>
                            <a:schemeClr val="tx1"/>
                          </a:solidFill>
                          <a:effectLst/>
                        </a:rPr>
                        <a:t>23.3</a:t>
                      </a:r>
                      <a:r>
                        <a:rPr lang="cs-CZ" sz="1000" b="1" dirty="0">
                          <a:solidFill>
                            <a:schemeClr val="tx1"/>
                          </a:solidFill>
                          <a:effectLst/>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346945584"/>
                  </a:ext>
                </a:extLst>
              </a:tr>
              <a:tr h="450578">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7 denní záchyty v populaci 65+ vyšší než 25/100tis. obyv.</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marL="0" algn="ctr" defTabSz="914400" rtl="0" eaLnBrk="1" latinLnBrk="0" hangingPunct="1">
                        <a:lnSpc>
                          <a:spcPct val="107000"/>
                        </a:lnSpc>
                        <a:spcAft>
                          <a:spcPts val="0"/>
                        </a:spcAft>
                      </a:pPr>
                      <a:r>
                        <a:rPr lang="en-US" sz="1000" b="1" kern="1200" dirty="0">
                          <a:solidFill>
                            <a:schemeClr val="tx1"/>
                          </a:solidFill>
                          <a:effectLst/>
                          <a:latin typeface="+mn-lt"/>
                          <a:ea typeface="+mn-ea"/>
                          <a:cs typeface="+mn-cs"/>
                        </a:rPr>
                        <a:t>10.5</a:t>
                      </a:r>
                      <a:endParaRPr lang="cs-CZ" sz="1000" b="1"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310797388"/>
                  </a:ext>
                </a:extLst>
              </a:tr>
              <a:tr h="53967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Méně než 60% nakažených jsou neočkovaní, &gt; 20% je po 2.dávce </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356" marR="583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latin typeface="+mn-lt"/>
                          <a:ea typeface="+mn-ea"/>
                          <a:cs typeface="+mn-cs"/>
                        </a:rPr>
                        <a:t>81%</a:t>
                      </a:r>
                      <a:r>
                        <a:rPr lang="en-US" sz="1000" b="1" dirty="0">
                          <a:solidFill>
                            <a:schemeClr val="tx1"/>
                          </a:solidFill>
                          <a:effectLst/>
                          <a:latin typeface="+mn-lt"/>
                          <a:ea typeface="+mn-ea"/>
                          <a:cs typeface="+mn-cs"/>
                        </a:rPr>
                        <a:t> </a:t>
                      </a:r>
                      <a:r>
                        <a:rPr lang="cs-CZ" sz="1000" b="1" dirty="0">
                          <a:solidFill>
                            <a:schemeClr val="tx1"/>
                          </a:solidFill>
                          <a:effectLst/>
                          <a:latin typeface="+mn-lt"/>
                          <a:ea typeface="+mn-ea"/>
                          <a:cs typeface="+mn-cs"/>
                        </a:rPr>
                        <a:t>/ 1</a:t>
                      </a:r>
                      <a:r>
                        <a:rPr lang="en-US" sz="1000" b="1" dirty="0">
                          <a:solidFill>
                            <a:schemeClr val="tx1"/>
                          </a:solidFill>
                          <a:effectLst/>
                          <a:latin typeface="+mn-lt"/>
                          <a:ea typeface="+mn-ea"/>
                          <a:cs typeface="+mn-cs"/>
                        </a:rPr>
                        <a:t>8</a:t>
                      </a:r>
                      <a:r>
                        <a:rPr lang="cs-CZ" sz="1000" b="1" dirty="0">
                          <a:solidFill>
                            <a:schemeClr val="tx1"/>
                          </a:solidFill>
                          <a:effectLst/>
                          <a:latin typeface="+mn-lt"/>
                          <a:ea typeface="+mn-ea"/>
                          <a:cs typeface="+mn-cs"/>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196042279"/>
                  </a:ext>
                </a:extLst>
              </a:tr>
              <a:tr h="539677">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S růstem počtu nakažených roste počet symptomatických případů (&gt; 50% diagnostikovaných)</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rPr>
                        <a:t>NE (</a:t>
                      </a:r>
                      <a:r>
                        <a:rPr lang="en-US" sz="1000" b="1" dirty="0">
                          <a:solidFill>
                            <a:schemeClr val="tx1"/>
                          </a:solidFill>
                          <a:effectLst/>
                        </a:rPr>
                        <a:t>35</a:t>
                      </a:r>
                      <a:r>
                        <a:rPr lang="cs-CZ" sz="1000" b="1" dirty="0">
                          <a:solidFill>
                            <a:schemeClr val="tx1"/>
                          </a:solidFill>
                          <a:effectLst/>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952251435"/>
                  </a:ext>
                </a:extLst>
              </a:tr>
              <a:tr h="356719">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Příjmy do nemocnic: &gt; 50 denně, rostoucí trend</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 (</a:t>
                      </a:r>
                      <a:r>
                        <a:rPr lang="en-US"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8</a:t>
                      </a:r>
                      <a:r>
                        <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endParaRPr lang="cs-CZ"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274164280"/>
                  </a:ext>
                </a:extLst>
              </a:tr>
              <a:tr h="356719">
                <a:tc>
                  <a:txBody>
                    <a:bodyPr/>
                    <a:lstStyle/>
                    <a:p>
                      <a:pPr marL="342900" lvl="0" indent="-342900">
                        <a:lnSpc>
                          <a:spcPct val="107000"/>
                        </a:lnSpc>
                        <a:spcAft>
                          <a:spcPts val="0"/>
                        </a:spcAft>
                        <a:buFont typeface="Wingdings" panose="05000000000000000000" pitchFamily="2" charset="2"/>
                        <a:buChar char=""/>
                        <a:tabLst>
                          <a:tab pos="457200" algn="l"/>
                        </a:tabLst>
                      </a:pPr>
                      <a:r>
                        <a:rPr lang="cs-CZ" sz="900" dirty="0">
                          <a:solidFill>
                            <a:schemeClr val="tx1"/>
                          </a:solidFill>
                          <a:effectLst/>
                        </a:rPr>
                        <a:t>Riziková obsazenost JIP: &gt; 20% celkové kapacity</a:t>
                      </a:r>
                      <a:endParaRPr lang="cs-CZ" sz="9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ctr">
                        <a:lnSpc>
                          <a:spcPct val="107000"/>
                        </a:lnSpc>
                        <a:spcAft>
                          <a:spcPts val="0"/>
                        </a:spcAft>
                      </a:pPr>
                      <a:r>
                        <a:rPr lang="en-US" sz="1000" b="1" dirty="0">
                          <a:solidFill>
                            <a:schemeClr val="tx1"/>
                          </a:solidFill>
                          <a:effectLst/>
                        </a:rPr>
                        <a:t>1.0</a:t>
                      </a:r>
                      <a:r>
                        <a:rPr lang="cs-CZ" sz="1000" b="1" dirty="0">
                          <a:solidFill>
                            <a:schemeClr val="tx1"/>
                          </a:solidFill>
                          <a:effectLst/>
                        </a:rPr>
                        <a:t>%</a:t>
                      </a:r>
                      <a:endParaRPr lang="cs-CZ" sz="1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528409799"/>
                  </a:ext>
                </a:extLst>
              </a:tr>
            </a:tbl>
          </a:graphicData>
        </a:graphic>
      </p:graphicFrame>
    </p:spTree>
    <p:extLst>
      <p:ext uri="{BB962C8B-B14F-4D97-AF65-F5344CB8AC3E}">
        <p14:creationId xmlns:p14="http://schemas.microsoft.com/office/powerpoint/2010/main" val="31342303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Projekce predikcí do vývoje zátěže nemocnic</a:t>
            </a:r>
            <a:endParaRPr lang="cs-CZ" sz="4200" i="1" dirty="0"/>
          </a:p>
        </p:txBody>
      </p:sp>
    </p:spTree>
    <p:extLst>
      <p:ext uri="{BB962C8B-B14F-4D97-AF65-F5344CB8AC3E}">
        <p14:creationId xmlns:p14="http://schemas.microsoft.com/office/powerpoint/2010/main" val="1595975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8010"/>
            <a:ext cx="11886453"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Předpokládaný dopad zhoršující se epidemick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situace na podzim 2021</a:t>
            </a:r>
            <a:endParaRPr kumimoji="0" lang="cs-CZ" sz="36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303599FD-4FB1-4418-8DFD-122D2ED7BAE9}"/>
              </a:ext>
            </a:extLst>
          </p:cNvPr>
          <p:cNvSpPr txBox="1"/>
          <p:nvPr/>
        </p:nvSpPr>
        <p:spPr>
          <a:xfrm>
            <a:off x="471714" y="2025266"/>
            <a:ext cx="11248571" cy="2246769"/>
          </a:xfrm>
          <a:prstGeom prst="rect">
            <a:avLst/>
          </a:prstGeom>
          <a:noFill/>
        </p:spPr>
        <p:txBody>
          <a:bodyPr wrap="square" rtlCol="0">
            <a:spAutoFit/>
          </a:bodyPr>
          <a:lstStyle/>
          <a:p>
            <a:pPr algn="ctr"/>
            <a:r>
              <a:rPr lang="cs-CZ" sz="2800" i="1" dirty="0"/>
              <a:t>Ačkoli pro podzimní měsíce 2021 nelze vyloučit zhoršení epidemické situace </a:t>
            </a:r>
          </a:p>
          <a:p>
            <a:pPr algn="ctr"/>
            <a:r>
              <a:rPr lang="cs-CZ" sz="2800" i="1" dirty="0"/>
              <a:t>a eskalaci v šíření nákazy, provedené projekce ukazují, že minimálně na počátku podzimní sezóny nebude mít epidemie tak významný zdravotní dopad jako tomu bylo na podzim 2020. Jde zejména o pozitivní důsledek proočkování populace a potenciálně zranitelných populačních skupin. </a:t>
            </a:r>
          </a:p>
        </p:txBody>
      </p:sp>
      <p:sp>
        <p:nvSpPr>
          <p:cNvPr id="7" name="Šipka dolů 1">
            <a:extLst>
              <a:ext uri="{FF2B5EF4-FFF2-40B4-BE49-F238E27FC236}">
                <a16:creationId xmlns:a16="http://schemas.microsoft.com/office/drawing/2014/main" id="{955C0929-9C1B-441E-ABC9-5B55337FCB5F}"/>
              </a:ext>
            </a:extLst>
          </p:cNvPr>
          <p:cNvSpPr/>
          <p:nvPr/>
        </p:nvSpPr>
        <p:spPr>
          <a:xfrm>
            <a:off x="5278357" y="4460709"/>
            <a:ext cx="1635284"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423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nových hospitalizačních</a:t>
            </a:r>
            <a:r>
              <a:rPr lang="cs-CZ" dirty="0">
                <a:latin typeface="+mn-lt"/>
              </a:rPr>
              <a:t> případů (denní příjmy do nemocnic)</a:t>
            </a: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828607" y="3049018"/>
            <a:ext cx="418576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nových hospitalizačních případů </a:t>
            </a:r>
          </a:p>
        </p:txBody>
      </p:sp>
      <p:sp>
        <p:nvSpPr>
          <p:cNvPr id="15"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graphicFrame>
        <p:nvGraphicFramePr>
          <p:cNvPr id="14" name="Chart 13">
            <a:extLst>
              <a:ext uri="{FF2B5EF4-FFF2-40B4-BE49-F238E27FC236}">
                <a16:creationId xmlns:a16="http://schemas.microsoft.com/office/drawing/2014/main" id="{130BB482-BBA1-4B51-97C3-EC21F9C9ABDD}"/>
              </a:ext>
            </a:extLst>
          </p:cNvPr>
          <p:cNvGraphicFramePr/>
          <p:nvPr>
            <p:custDataLst>
              <p:tags r:id="rId1"/>
            </p:custDataLst>
            <p:extLst>
              <p:ext uri="{D42A27DB-BD31-4B8C-83A1-F6EECF244321}">
                <p14:modId xmlns:p14="http://schemas.microsoft.com/office/powerpoint/2010/main" val="1791334872"/>
              </p:ext>
            </p:ext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1"/>
          </a:graphicData>
        </a:graphic>
      </p:graphicFrame>
      <p:sp>
        <p:nvSpPr>
          <p:cNvPr id="16" name="Šipka doprava 5">
            <a:extLst>
              <a:ext uri="{FF2B5EF4-FFF2-40B4-BE49-F238E27FC236}">
                <a16:creationId xmlns:a16="http://schemas.microsoft.com/office/drawing/2014/main" id="{275D23C4-4989-44E2-88B9-234E4BAF9609}"/>
              </a:ext>
            </a:extLst>
          </p:cNvPr>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4">
            <a:extLst>
              <a:ext uri="{FF2B5EF4-FFF2-40B4-BE49-F238E27FC236}">
                <a16:creationId xmlns:a16="http://schemas.microsoft.com/office/drawing/2014/main" id="{F79E1C56-E52B-4DC5-B7BC-357DF7A0ED3E}"/>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19" name="TextovéPole 29">
            <a:extLst>
              <a:ext uri="{FF2B5EF4-FFF2-40B4-BE49-F238E27FC236}">
                <a16:creationId xmlns:a16="http://schemas.microsoft.com/office/drawing/2014/main" id="{78C82521-5EA5-4A35-9451-120226A20957}"/>
              </a:ext>
            </a:extLst>
          </p:cNvPr>
          <p:cNvSpPr txBox="1"/>
          <p:nvPr>
            <p:custDataLst>
              <p:tags r:id="rId2"/>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TextovéPole 30">
            <a:extLst>
              <a:ext uri="{FF2B5EF4-FFF2-40B4-BE49-F238E27FC236}">
                <a16:creationId xmlns:a16="http://schemas.microsoft.com/office/drawing/2014/main" id="{ACAC3EFD-09FF-4784-BA2B-DBDD66EAF14D}"/>
              </a:ext>
            </a:extLst>
          </p:cNvPr>
          <p:cNvSpPr txBox="1"/>
          <p:nvPr>
            <p:custDataLst>
              <p:tags r:id="rId3"/>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TextovéPole 29">
            <a:extLst>
              <a:ext uri="{FF2B5EF4-FFF2-40B4-BE49-F238E27FC236}">
                <a16:creationId xmlns:a16="http://schemas.microsoft.com/office/drawing/2014/main" id="{D5015280-53F7-482D-A9A4-19B7B001A5DE}"/>
              </a:ext>
            </a:extLst>
          </p:cNvPr>
          <p:cNvSpPr txBox="1"/>
          <p:nvPr>
            <p:custDataLst>
              <p:tags r:id="rId4"/>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TextovéPole 24">
            <a:extLst>
              <a:ext uri="{FF2B5EF4-FFF2-40B4-BE49-F238E27FC236}">
                <a16:creationId xmlns:a16="http://schemas.microsoft.com/office/drawing/2014/main" id="{B3C3DDE8-6E1E-4597-B032-DA6A42392264}"/>
              </a:ext>
            </a:extLst>
          </p:cNvPr>
          <p:cNvSpPr txBox="1"/>
          <p:nvPr>
            <p:custDataLst>
              <p:tags r:id="rId5"/>
            </p:custDataLst>
          </p:nvPr>
        </p:nvSpPr>
        <p:spPr>
          <a:xfrm>
            <a:off x="8212761" y="2749039"/>
            <a:ext cx="382683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a:t>
            </a:r>
          </a:p>
        </p:txBody>
      </p:sp>
      <p:sp>
        <p:nvSpPr>
          <p:cNvPr id="33" name="Rectangle 28">
            <a:extLst>
              <a:ext uri="{FF2B5EF4-FFF2-40B4-BE49-F238E27FC236}">
                <a16:creationId xmlns:a16="http://schemas.microsoft.com/office/drawing/2014/main" id="{1404746E-BB3E-4893-9C3C-9E7F636B753C}"/>
              </a:ext>
            </a:extLst>
          </p:cNvPr>
          <p:cNvSpPr/>
          <p:nvPr>
            <p:custDataLst>
              <p:tags r:id="rId6"/>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34" name="Přímá spojnice 32">
            <a:extLst>
              <a:ext uri="{FF2B5EF4-FFF2-40B4-BE49-F238E27FC236}">
                <a16:creationId xmlns:a16="http://schemas.microsoft.com/office/drawing/2014/main" id="{1DEC34F9-3DFD-4E2C-8BBB-9277CFB1AA79}"/>
              </a:ext>
            </a:extLst>
          </p:cNvPr>
          <p:cNvCxnSpPr>
            <a:cxnSpLocks/>
          </p:cNvCxnSpPr>
          <p:nvPr>
            <p:custDataLst>
              <p:tags r:id="rId7"/>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5" name="Přímá spojnice 33">
            <a:extLst>
              <a:ext uri="{FF2B5EF4-FFF2-40B4-BE49-F238E27FC236}">
                <a16:creationId xmlns:a16="http://schemas.microsoft.com/office/drawing/2014/main" id="{8578E5FB-3E53-4FB4-A221-B094F3A99354}"/>
              </a:ext>
            </a:extLst>
          </p:cNvPr>
          <p:cNvCxnSpPr>
            <a:cxnSpLocks/>
          </p:cNvCxnSpPr>
          <p:nvPr>
            <p:custDataLst>
              <p:tags r:id="rId8"/>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6" name="Přímá spojnice 20">
            <a:extLst>
              <a:ext uri="{FF2B5EF4-FFF2-40B4-BE49-F238E27FC236}">
                <a16:creationId xmlns:a16="http://schemas.microsoft.com/office/drawing/2014/main" id="{8A5557B1-B1DF-4682-B740-9F582A547C62}"/>
              </a:ext>
            </a:extLst>
          </p:cNvPr>
          <p:cNvCxnSpPr>
            <a:cxnSpLocks/>
          </p:cNvCxnSpPr>
          <p:nvPr>
            <p:custDataLst>
              <p:tags r:id="rId9"/>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 name="Přímá spojnice 2">
            <a:extLst>
              <a:ext uri="{FF2B5EF4-FFF2-40B4-BE49-F238E27FC236}">
                <a16:creationId xmlns:a16="http://schemas.microsoft.com/office/drawing/2014/main" id="{394B98A4-9E1E-479D-AE2E-2B907F3268F3}"/>
              </a:ext>
            </a:extLst>
          </p:cNvPr>
          <p:cNvCxnSpPr>
            <a:cxnSpLocks/>
          </p:cNvCxnSpPr>
          <p:nvPr/>
        </p:nvCxnSpPr>
        <p:spPr>
          <a:xfrm flipV="1">
            <a:off x="1031638" y="4679491"/>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 name="Přímá spojnice 20">
            <a:extLst>
              <a:ext uri="{FF2B5EF4-FFF2-40B4-BE49-F238E27FC236}">
                <a16:creationId xmlns:a16="http://schemas.microsoft.com/office/drawing/2014/main" id="{3DDA4366-132A-41A9-B5F8-B054D4408F2E}"/>
              </a:ext>
            </a:extLst>
          </p:cNvPr>
          <p:cNvCxnSpPr>
            <a:cxnSpLocks/>
          </p:cNvCxnSpPr>
          <p:nvPr/>
        </p:nvCxnSpPr>
        <p:spPr>
          <a:xfrm>
            <a:off x="6975238"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496492CA-8B50-4658-9481-A6F74AB6929C}"/>
              </a:ext>
            </a:extLst>
          </p:cNvPr>
          <p:cNvSpPr txBox="1"/>
          <p:nvPr/>
        </p:nvSpPr>
        <p:spPr>
          <a:xfrm>
            <a:off x="2429551" y="4293376"/>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
        <p:nvSpPr>
          <p:cNvPr id="24" name="TextovéPole 23">
            <a:extLst>
              <a:ext uri="{FF2B5EF4-FFF2-40B4-BE49-F238E27FC236}">
                <a16:creationId xmlns:a16="http://schemas.microsoft.com/office/drawing/2014/main" id="{C7C74D2E-14A3-42EC-B496-775EA26D84B8}"/>
              </a:ext>
            </a:extLst>
          </p:cNvPr>
          <p:cNvSpPr txBox="1"/>
          <p:nvPr/>
        </p:nvSpPr>
        <p:spPr>
          <a:xfrm>
            <a:off x="2075050" y="1417724"/>
            <a:ext cx="4060612" cy="1569660"/>
          </a:xfrm>
          <a:prstGeom prst="rect">
            <a:avLst/>
          </a:prstGeom>
          <a:noFill/>
        </p:spPr>
        <p:txBody>
          <a:bodyPr wrap="square" rtlCol="0">
            <a:spAutoFit/>
          </a:bodyPr>
          <a:lstStyle/>
          <a:p>
            <a:r>
              <a:rPr lang="cs-CZ" sz="2400" b="1" dirty="0">
                <a:solidFill>
                  <a:srgbClr val="0000FF"/>
                </a:solidFill>
              </a:rPr>
              <a:t>Vývoj sleduje predikce dané realistickým scénářem </a:t>
            </a:r>
          </a:p>
          <a:p>
            <a:r>
              <a:rPr lang="cs-CZ" sz="2400" b="1" dirty="0">
                <a:solidFill>
                  <a:srgbClr val="0000FF"/>
                </a:solidFill>
              </a:rPr>
              <a:t>a neeskaluje do rizikových hodnot. </a:t>
            </a:r>
          </a:p>
        </p:txBody>
      </p:sp>
    </p:spTree>
    <p:extLst>
      <p:ext uri="{BB962C8B-B14F-4D97-AF65-F5344CB8AC3E}">
        <p14:creationId xmlns:p14="http://schemas.microsoft.com/office/powerpoint/2010/main" val="2644795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85737" y="765429"/>
            <a:ext cx="11820525" cy="594008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sng" strike="noStrike" kern="1200" cap="none" spc="0" normalizeH="0" baseline="0" noProof="0" dirty="0">
                <a:ln>
                  <a:noFill/>
                </a:ln>
                <a:effectLst/>
                <a:uLnTx/>
                <a:uFillTx/>
                <a:latin typeface="Calibri" panose="020F0502020204030204"/>
                <a:ea typeface="+mn-ea"/>
                <a:cs typeface="+mn-cs"/>
              </a:rPr>
              <a:t>Obecný popis celkové situace</a:t>
            </a:r>
            <a:r>
              <a:rPr kumimoji="0" lang="cs-CZ" sz="2000" b="1" i="0" u="none" strike="noStrike" kern="1200" cap="none" spc="0" normalizeH="0" baseline="0" noProof="0" dirty="0">
                <a:ln>
                  <a:noFill/>
                </a:ln>
                <a:effectLst/>
                <a:uLnTx/>
                <a:uFillTx/>
                <a:latin typeface="Calibri" panose="020F0502020204030204"/>
                <a:ea typeface="+mn-ea"/>
                <a:cs typeface="+mn-cs"/>
              </a:rPr>
              <a:t>.</a:t>
            </a:r>
            <a:r>
              <a:rPr kumimoji="0" lang="cs-CZ" sz="2000" i="0" u="none" strike="noStrike" kern="1200" cap="none" spc="0" normalizeH="0" baseline="0" noProof="0" dirty="0">
                <a:ln>
                  <a:noFill/>
                </a:ln>
                <a:effectLst/>
                <a:uLnTx/>
                <a:uFillTx/>
                <a:latin typeface="Calibri" panose="020F0502020204030204"/>
                <a:ea typeface="+mn-ea"/>
                <a:cs typeface="+mn-cs"/>
              </a:rPr>
              <a:t> Epidemie kontinuálně roste, nicméně hodnoty neeskalují do vysoce rizikových trendů. I přes tento pozitivní (kontrolovatelný) vývoj epidemie stále v populaci existuje potenciál k šíření nákazy. V predikcích musíme počítat s cca 25% - 30% populace, která bude k infekci primárně vnímavá a nebude chráněna ani očkováním, ani proděláním nemoci. Tento podíl nechráněných osob se v září zatím zásadně nemění. Nadto určitá část očkovaných je stále chráněna pouze 1. dávkou, která nemusí plně působit proti novým variantám viru. Zejména věkové kategorie mladší než 40 let jsou stále proočkované pouze z cca 50% a je zde tedy významný prostor k šíření nákazy. Mezi nově nakaženými je typicky 75% - 80% neočkovaných, 10% po 1. dávce a cca 15% po 2. dávce očkování. </a:t>
            </a:r>
            <a:r>
              <a:rPr lang="cs-CZ" sz="2000" dirty="0">
                <a:latin typeface="Calibri" panose="020F0502020204030204"/>
              </a:rPr>
              <a:t>Velká část nakažených po očkování byla ale infikována před nebo krátce po dávce vakcíny a průběh onemocnění byl ve většině velmi mírný. </a:t>
            </a:r>
            <a:r>
              <a:rPr kumimoji="0" lang="cs-CZ" sz="2000" i="0" u="none" strike="noStrike" kern="1200" cap="none" spc="0" normalizeH="0" baseline="0" noProof="0" dirty="0">
                <a:ln>
                  <a:noFill/>
                </a:ln>
                <a:effectLst/>
                <a:uLnTx/>
                <a:uFillTx/>
                <a:latin typeface="Calibri" panose="020F0502020204030204"/>
                <a:ea typeface="+mn-ea"/>
                <a:cs typeface="+mn-cs"/>
              </a:rPr>
              <a:t> </a:t>
            </a:r>
          </a:p>
          <a:p>
            <a:pPr marL="0" marR="0" lvl="0" indent="0" defTabSz="914400" rtl="0" eaLnBrk="1" fontAlgn="auto" latinLnBrk="0" hangingPunct="1">
              <a:lnSpc>
                <a:spcPct val="100000"/>
              </a:lnSpc>
              <a:spcBef>
                <a:spcPts val="0"/>
              </a:spcBef>
              <a:spcAft>
                <a:spcPts val="0"/>
              </a:spcAft>
              <a:buClrTx/>
              <a:buSzTx/>
              <a:buFontTx/>
              <a:buNone/>
              <a:tabLst/>
              <a:defRPr/>
            </a:pPr>
            <a:endParaRPr lang="cs-CZ" sz="2000" dirty="0">
              <a:latin typeface="Calibri" panose="020F0502020204030204"/>
            </a:endParaRPr>
          </a:p>
          <a:p>
            <a:pPr>
              <a:defRPr/>
            </a:pPr>
            <a:r>
              <a:rPr kumimoji="0" lang="cs-CZ" sz="2000" b="1" i="0" u="sng" strike="noStrike" kern="1200" cap="none" spc="0" normalizeH="0" baseline="0" noProof="0" dirty="0">
                <a:ln>
                  <a:noFill/>
                </a:ln>
                <a:effectLst/>
                <a:uLnTx/>
                <a:uFillTx/>
                <a:latin typeface="Calibri" panose="020F0502020204030204"/>
                <a:ea typeface="+mn-ea"/>
                <a:cs typeface="+mn-cs"/>
              </a:rPr>
              <a:t>Změna v září</a:t>
            </a:r>
            <a:r>
              <a:rPr kumimoji="0" lang="cs-CZ" sz="2000" i="0" strike="noStrike" kern="1200" cap="none" spc="0" normalizeH="0" baseline="0" noProof="0" dirty="0">
                <a:ln>
                  <a:noFill/>
                </a:ln>
                <a:effectLst/>
                <a:uLnTx/>
                <a:uFillTx/>
                <a:latin typeface="Calibri" panose="020F0502020204030204"/>
                <a:ea typeface="+mn-ea"/>
                <a:cs typeface="+mn-cs"/>
              </a:rPr>
              <a:t>. Vývoj epidemie se v září mění a dochází k nárůstu počtu pozitivních případů. Růst je kontinuální, ale relativně mírný – nedochází k eskalaci do vysoce rizikových hodnot ukazatelů. Jde o očekávatelnou reakci na změnu chování populace, návrat do škol a do zaměstnání. Úhrnný 7denní počet nově potvrzených případů překročil 28/100tis. obyvatel. Nákaza se nadále dominantně šíří mezi mladými lidmi, typicky ve věku 16 – 29 let. </a:t>
            </a:r>
          </a:p>
          <a:p>
            <a:pPr>
              <a:defRPr/>
            </a:pPr>
            <a:endParaRPr lang="cs-CZ" sz="2000" dirty="0">
              <a:latin typeface="Calibri" panose="020F0502020204030204"/>
            </a:endParaRPr>
          </a:p>
          <a:p>
            <a:pPr>
              <a:defRPr/>
            </a:pPr>
            <a:r>
              <a:rPr lang="cs-CZ" sz="2000" b="1" u="sng" dirty="0"/>
              <a:t>Zásadní pro predikci na podzim byl vývoj v září do 10.9.</a:t>
            </a:r>
            <a:r>
              <a:rPr lang="cs-CZ" sz="2000" b="1" dirty="0"/>
              <a:t>, </a:t>
            </a:r>
            <a:r>
              <a:rPr lang="cs-CZ" sz="2000" dirty="0"/>
              <a:t>kdy již došlo k výraznějšímu návratu populace do zaměstnání a podstatně narostla mobilita obyvatel a s ní počet rizikových kontaktů. V těchto týdnech začala virová nálož v populaci stoupat a tento trend zasáhnul většinu regionů. Jde bohužel o indikátor pro rizikovější scénáře v podzimních měsících.</a:t>
            </a:r>
            <a:endParaRPr kumimoji="0" lang="cs-CZ" sz="2000" i="0" u="none" strike="noStrike" kern="1200" cap="none" spc="0" normalizeH="0" baseline="0" noProof="0" dirty="0">
              <a:ln>
                <a:noFill/>
              </a:ln>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183653" y="211731"/>
            <a:ext cx="11618346" cy="62864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OUHRN </a:t>
            </a:r>
          </a:p>
        </p:txBody>
      </p:sp>
    </p:spTree>
    <p:extLst>
      <p:ext uri="{BB962C8B-B14F-4D97-AF65-F5344CB8AC3E}">
        <p14:creationId xmlns:p14="http://schemas.microsoft.com/office/powerpoint/2010/main" val="155722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381739" y="2"/>
            <a:ext cx="9337041" cy="576000"/>
          </a:xfrm>
        </p:spPr>
        <p:txBody>
          <a:bodyPr/>
          <a:lstStyle/>
          <a:p>
            <a:r>
              <a:rPr lang="cs-CZ" dirty="0">
                <a:latin typeface="+mn-lt"/>
              </a:rPr>
              <a:t>Predikovaný celkový počet </a:t>
            </a:r>
            <a:r>
              <a:rPr lang="cs-CZ" u="sng" dirty="0">
                <a:latin typeface="+mn-lt"/>
              </a:rPr>
              <a:t>aktuálně hospitalizovaných</a:t>
            </a:r>
            <a:endParaRPr lang="cs-CZ" dirty="0">
              <a:latin typeface="+mn-lt"/>
            </a:endParaRPr>
          </a:p>
        </p:txBody>
      </p:sp>
      <p:graphicFrame>
        <p:nvGraphicFramePr>
          <p:cNvPr id="4" name="Chart 3">
            <a:extLst>
              <a:ext uri="{FF2B5EF4-FFF2-40B4-BE49-F238E27FC236}">
                <a16:creationId xmlns:a16="http://schemas.microsoft.com/office/drawing/2014/main" id="{4881953E-570E-4182-9AFA-D9A699C6849D}"/>
              </a:ext>
            </a:extLst>
          </p:cNvPr>
          <p:cNvGraphicFramePr/>
          <p:nvPr>
            <p:custDataLst>
              <p:tags r:id="rId2"/>
            </p:custDataLst>
            <p:extLst>
              <p:ext uri="{D42A27DB-BD31-4B8C-83A1-F6EECF244321}">
                <p14:modId xmlns:p14="http://schemas.microsoft.com/office/powerpoint/2010/main" val="4043278201"/>
              </p:ext>
            </p:ext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3"/>
          </a:graphicData>
        </a:graphic>
      </p:graphicFrame>
      <p:sp>
        <p:nvSpPr>
          <p:cNvPr id="23" name="Rectangle 22">
            <a:extLst>
              <a:ext uri="{FF2B5EF4-FFF2-40B4-BE49-F238E27FC236}">
                <a16:creationId xmlns:a16="http://schemas.microsoft.com/office/drawing/2014/main" id="{830D37DF-B158-4FF6-B3AF-9F71D8756D6C}"/>
              </a:ext>
            </a:extLst>
          </p:cNvPr>
          <p:cNvSpPr/>
          <p:nvPr>
            <p:custDataLst>
              <p:tags r:id="rId3"/>
            </p:custDataLst>
          </p:nvPr>
        </p:nvSpPr>
        <p:spPr>
          <a:xfrm rot="16200000">
            <a:off x="-1533651" y="3049018"/>
            <a:ext cx="35958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p>
        </p:txBody>
      </p:sp>
      <p:sp>
        <p:nvSpPr>
          <p:cNvPr id="24"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sp>
        <p:nvSpPr>
          <p:cNvPr id="6" name="Šipka doprava 5"/>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4">
            <a:extLst>
              <a:ext uri="{FF2B5EF4-FFF2-40B4-BE49-F238E27FC236}">
                <a16:creationId xmlns:a16="http://schemas.microsoft.com/office/drawing/2014/main" id="{5E65512A-F0D5-4BE7-A4E2-98384B98CFD5}"/>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19" name="TextovéPole 29">
            <a:extLst>
              <a:ext uri="{FF2B5EF4-FFF2-40B4-BE49-F238E27FC236}">
                <a16:creationId xmlns:a16="http://schemas.microsoft.com/office/drawing/2014/main" id="{DB77B4B0-9F39-4E6B-A88C-E4C90D9353B5}"/>
              </a:ext>
            </a:extLst>
          </p:cNvPr>
          <p:cNvSpPr txBox="1"/>
          <p:nvPr>
            <p:custDataLst>
              <p:tags r:id="rId4"/>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TextovéPole 30">
            <a:extLst>
              <a:ext uri="{FF2B5EF4-FFF2-40B4-BE49-F238E27FC236}">
                <a16:creationId xmlns:a16="http://schemas.microsoft.com/office/drawing/2014/main" id="{19912165-E8E8-4CDB-B245-E0E2CAA51867}"/>
              </a:ext>
            </a:extLst>
          </p:cNvPr>
          <p:cNvSpPr txBox="1"/>
          <p:nvPr>
            <p:custDataLst>
              <p:tags r:id="rId5"/>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TextovéPole 29">
            <a:extLst>
              <a:ext uri="{FF2B5EF4-FFF2-40B4-BE49-F238E27FC236}">
                <a16:creationId xmlns:a16="http://schemas.microsoft.com/office/drawing/2014/main" id="{D6A9C951-7195-4EDD-AC78-4BFC3E06A956}"/>
              </a:ext>
            </a:extLst>
          </p:cNvPr>
          <p:cNvSpPr txBox="1"/>
          <p:nvPr>
            <p:custDataLst>
              <p:tags r:id="rId6"/>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6" name="TextovéPole 25">
            <a:extLst>
              <a:ext uri="{FF2B5EF4-FFF2-40B4-BE49-F238E27FC236}">
                <a16:creationId xmlns:a16="http://schemas.microsoft.com/office/drawing/2014/main" id="{8CAD8343-049D-4D72-B1C4-E2C38DF87A49}"/>
              </a:ext>
            </a:extLst>
          </p:cNvPr>
          <p:cNvSpPr txBox="1"/>
          <p:nvPr>
            <p:custDataLst>
              <p:tags r:id="rId7"/>
            </p:custDataLst>
          </p:nvPr>
        </p:nvSpPr>
        <p:spPr>
          <a:xfrm>
            <a:off x="8212761" y="2749039"/>
            <a:ext cx="382683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a:t>
            </a:r>
          </a:p>
        </p:txBody>
      </p:sp>
      <p:sp>
        <p:nvSpPr>
          <p:cNvPr id="27" name="Rectangle 28">
            <a:extLst>
              <a:ext uri="{FF2B5EF4-FFF2-40B4-BE49-F238E27FC236}">
                <a16:creationId xmlns:a16="http://schemas.microsoft.com/office/drawing/2014/main" id="{6329A8F5-1D97-407A-ABA6-0A42FFD6F329}"/>
              </a:ext>
            </a:extLst>
          </p:cNvPr>
          <p:cNvSpPr/>
          <p:nvPr>
            <p:custDataLst>
              <p:tags r:id="rId8"/>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28" name="Přímá spojnice 32">
            <a:extLst>
              <a:ext uri="{FF2B5EF4-FFF2-40B4-BE49-F238E27FC236}">
                <a16:creationId xmlns:a16="http://schemas.microsoft.com/office/drawing/2014/main" id="{7D17B7DA-7AEF-40F2-9839-9405E41EF554}"/>
              </a:ext>
            </a:extLst>
          </p:cNvPr>
          <p:cNvCxnSpPr>
            <a:cxnSpLocks/>
          </p:cNvCxnSpPr>
          <p:nvPr>
            <p:custDataLst>
              <p:tags r:id="rId9"/>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5" name="Přímá spojnice 33">
            <a:extLst>
              <a:ext uri="{FF2B5EF4-FFF2-40B4-BE49-F238E27FC236}">
                <a16:creationId xmlns:a16="http://schemas.microsoft.com/office/drawing/2014/main" id="{A97D4125-89A3-40B2-B405-BBE878ACA418}"/>
              </a:ext>
            </a:extLst>
          </p:cNvPr>
          <p:cNvCxnSpPr>
            <a:cxnSpLocks/>
          </p:cNvCxnSpPr>
          <p:nvPr>
            <p:custDataLst>
              <p:tags r:id="rId10"/>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6" name="Přímá spojnice 20">
            <a:extLst>
              <a:ext uri="{FF2B5EF4-FFF2-40B4-BE49-F238E27FC236}">
                <a16:creationId xmlns:a16="http://schemas.microsoft.com/office/drawing/2014/main" id="{842AACBE-6AF2-45F0-BA07-2553C9302D39}"/>
              </a:ext>
            </a:extLst>
          </p:cNvPr>
          <p:cNvCxnSpPr>
            <a:cxnSpLocks/>
          </p:cNvCxnSpPr>
          <p:nvPr>
            <p:custDataLst>
              <p:tags r:id="rId11"/>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7" name="Přímá spojnice 36">
            <a:extLst>
              <a:ext uri="{FF2B5EF4-FFF2-40B4-BE49-F238E27FC236}">
                <a16:creationId xmlns:a16="http://schemas.microsoft.com/office/drawing/2014/main" id="{8C1D1870-CE70-4FDC-BA61-BB11AC2DA04D}"/>
              </a:ext>
            </a:extLst>
          </p:cNvPr>
          <p:cNvCxnSpPr>
            <a:cxnSpLocks/>
          </p:cNvCxnSpPr>
          <p:nvPr/>
        </p:nvCxnSpPr>
        <p:spPr>
          <a:xfrm flipV="1">
            <a:off x="1133240" y="4766575"/>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8" name="Přímá spojnice 37">
            <a:extLst>
              <a:ext uri="{FF2B5EF4-FFF2-40B4-BE49-F238E27FC236}">
                <a16:creationId xmlns:a16="http://schemas.microsoft.com/office/drawing/2014/main" id="{F2BBBD3E-4807-4FCA-93C2-0F20C478E13A}"/>
              </a:ext>
            </a:extLst>
          </p:cNvPr>
          <p:cNvCxnSpPr>
            <a:cxnSpLocks/>
          </p:cNvCxnSpPr>
          <p:nvPr/>
        </p:nvCxnSpPr>
        <p:spPr>
          <a:xfrm>
            <a:off x="7076840"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9" name="TextovéPole 38">
            <a:extLst>
              <a:ext uri="{FF2B5EF4-FFF2-40B4-BE49-F238E27FC236}">
                <a16:creationId xmlns:a16="http://schemas.microsoft.com/office/drawing/2014/main" id="{798A0EB5-CA89-4952-A871-D1821A623EDC}"/>
              </a:ext>
            </a:extLst>
          </p:cNvPr>
          <p:cNvSpPr txBox="1"/>
          <p:nvPr/>
        </p:nvSpPr>
        <p:spPr>
          <a:xfrm>
            <a:off x="2531153" y="4380460"/>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
        <p:nvSpPr>
          <p:cNvPr id="21" name="TextovéPole 20">
            <a:extLst>
              <a:ext uri="{FF2B5EF4-FFF2-40B4-BE49-F238E27FC236}">
                <a16:creationId xmlns:a16="http://schemas.microsoft.com/office/drawing/2014/main" id="{B9424BD6-9AE9-4645-A7EE-A00B1FCE59CD}"/>
              </a:ext>
            </a:extLst>
          </p:cNvPr>
          <p:cNvSpPr txBox="1"/>
          <p:nvPr/>
        </p:nvSpPr>
        <p:spPr>
          <a:xfrm>
            <a:off x="2075050" y="1417724"/>
            <a:ext cx="4060612" cy="1569660"/>
          </a:xfrm>
          <a:prstGeom prst="rect">
            <a:avLst/>
          </a:prstGeom>
          <a:noFill/>
        </p:spPr>
        <p:txBody>
          <a:bodyPr wrap="square" rtlCol="0">
            <a:spAutoFit/>
          </a:bodyPr>
          <a:lstStyle/>
          <a:p>
            <a:r>
              <a:rPr lang="cs-CZ" sz="2400" b="1" dirty="0">
                <a:solidFill>
                  <a:srgbClr val="0000FF"/>
                </a:solidFill>
              </a:rPr>
              <a:t>Vývoj sleduje predikce dané realistickým scénářem </a:t>
            </a:r>
          </a:p>
          <a:p>
            <a:r>
              <a:rPr lang="cs-CZ" sz="2400" b="1" dirty="0">
                <a:solidFill>
                  <a:srgbClr val="0000FF"/>
                </a:solidFill>
              </a:rPr>
              <a:t>a neeskaluje do rizikových hodnot. </a:t>
            </a:r>
          </a:p>
        </p:txBody>
      </p:sp>
    </p:spTree>
    <p:extLst>
      <p:ext uri="{BB962C8B-B14F-4D97-AF65-F5344CB8AC3E}">
        <p14:creationId xmlns:p14="http://schemas.microsoft.com/office/powerpoint/2010/main" val="36162123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aktuálně hospitalizovaných</a:t>
            </a:r>
            <a:r>
              <a:rPr lang="en-US" u="sng" dirty="0">
                <a:latin typeface="+mn-lt"/>
              </a:rPr>
              <a:t> </a:t>
            </a:r>
            <a:r>
              <a:rPr lang="en-US" u="sng" dirty="0" err="1">
                <a:latin typeface="+mn-lt"/>
              </a:rPr>
              <a:t>na</a:t>
            </a:r>
            <a:r>
              <a:rPr lang="en-US" u="sng" dirty="0">
                <a:latin typeface="+mn-lt"/>
              </a:rPr>
              <a:t> JIP</a:t>
            </a:r>
            <a:endParaRPr lang="cs-CZ" dirty="0">
              <a:latin typeface="+mn-lt"/>
            </a:endParaRP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924783" y="3049018"/>
            <a:ext cx="437812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na</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JIP</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graphicFrame>
        <p:nvGraphicFramePr>
          <p:cNvPr id="19" name="Chart 18">
            <a:extLst>
              <a:ext uri="{FF2B5EF4-FFF2-40B4-BE49-F238E27FC236}">
                <a16:creationId xmlns:a16="http://schemas.microsoft.com/office/drawing/2014/main" id="{ADB44BF5-DF2B-43BD-A159-972F53E32F46}"/>
              </a:ext>
            </a:extLst>
          </p:cNvPr>
          <p:cNvGraphicFramePr/>
          <p:nvPr>
            <p:custDataLst>
              <p:tags r:id="rId1"/>
            </p:custDataLst>
            <p:extLst>
              <p:ext uri="{D42A27DB-BD31-4B8C-83A1-F6EECF244321}">
                <p14:modId xmlns:p14="http://schemas.microsoft.com/office/powerpoint/2010/main" val="3762934793"/>
              </p:ext>
            </p:ext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1"/>
          </a:graphicData>
        </a:graphic>
      </p:graphicFrame>
      <p:sp>
        <p:nvSpPr>
          <p:cNvPr id="16" name="Šipka doprava 5">
            <a:extLst>
              <a:ext uri="{FF2B5EF4-FFF2-40B4-BE49-F238E27FC236}">
                <a16:creationId xmlns:a16="http://schemas.microsoft.com/office/drawing/2014/main" id="{BE8546B1-1A8C-43CB-862F-28081794A8C7}"/>
              </a:ext>
            </a:extLst>
          </p:cNvPr>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4">
            <a:extLst>
              <a:ext uri="{FF2B5EF4-FFF2-40B4-BE49-F238E27FC236}">
                <a16:creationId xmlns:a16="http://schemas.microsoft.com/office/drawing/2014/main" id="{A0F57D30-5DF1-4B27-B6EB-5EF367CA8B03}"/>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21" name="TextovéPole 29">
            <a:extLst>
              <a:ext uri="{FF2B5EF4-FFF2-40B4-BE49-F238E27FC236}">
                <a16:creationId xmlns:a16="http://schemas.microsoft.com/office/drawing/2014/main" id="{C4854121-0D0E-48AA-A160-95AA43D7AE30}"/>
              </a:ext>
            </a:extLst>
          </p:cNvPr>
          <p:cNvSpPr txBox="1"/>
          <p:nvPr>
            <p:custDataLst>
              <p:tags r:id="rId2"/>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TextovéPole 30">
            <a:extLst>
              <a:ext uri="{FF2B5EF4-FFF2-40B4-BE49-F238E27FC236}">
                <a16:creationId xmlns:a16="http://schemas.microsoft.com/office/drawing/2014/main" id="{8A4E2FB1-6105-4AE3-BD3B-591AD204DCF7}"/>
              </a:ext>
            </a:extLst>
          </p:cNvPr>
          <p:cNvSpPr txBox="1"/>
          <p:nvPr>
            <p:custDataLst>
              <p:tags r:id="rId3"/>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0" name="TextovéPole 29">
            <a:extLst>
              <a:ext uri="{FF2B5EF4-FFF2-40B4-BE49-F238E27FC236}">
                <a16:creationId xmlns:a16="http://schemas.microsoft.com/office/drawing/2014/main" id="{7A0DCB76-C6D6-4696-8D6D-E9EDBC2CB478}"/>
              </a:ext>
            </a:extLst>
          </p:cNvPr>
          <p:cNvSpPr txBox="1"/>
          <p:nvPr>
            <p:custDataLst>
              <p:tags r:id="rId4"/>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1" name="TextovéPole 30">
            <a:extLst>
              <a:ext uri="{FF2B5EF4-FFF2-40B4-BE49-F238E27FC236}">
                <a16:creationId xmlns:a16="http://schemas.microsoft.com/office/drawing/2014/main" id="{3C8C25A9-53F7-48F9-94E9-880BBC7817DC}"/>
              </a:ext>
            </a:extLst>
          </p:cNvPr>
          <p:cNvSpPr txBox="1"/>
          <p:nvPr>
            <p:custDataLst>
              <p:tags r:id="rId5"/>
            </p:custDataLst>
          </p:nvPr>
        </p:nvSpPr>
        <p:spPr>
          <a:xfrm>
            <a:off x="8212761" y="2749039"/>
            <a:ext cx="382683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a:t>
            </a:r>
          </a:p>
        </p:txBody>
      </p:sp>
      <p:sp>
        <p:nvSpPr>
          <p:cNvPr id="32" name="Rectangle 28">
            <a:extLst>
              <a:ext uri="{FF2B5EF4-FFF2-40B4-BE49-F238E27FC236}">
                <a16:creationId xmlns:a16="http://schemas.microsoft.com/office/drawing/2014/main" id="{5DF712C4-9EF2-4348-91A5-487E06FD1382}"/>
              </a:ext>
            </a:extLst>
          </p:cNvPr>
          <p:cNvSpPr/>
          <p:nvPr>
            <p:custDataLst>
              <p:tags r:id="rId6"/>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35" name="Přímá spojnice 32">
            <a:extLst>
              <a:ext uri="{FF2B5EF4-FFF2-40B4-BE49-F238E27FC236}">
                <a16:creationId xmlns:a16="http://schemas.microsoft.com/office/drawing/2014/main" id="{6EA031DB-B78B-4ECE-AD1E-89726551208D}"/>
              </a:ext>
            </a:extLst>
          </p:cNvPr>
          <p:cNvCxnSpPr>
            <a:cxnSpLocks/>
          </p:cNvCxnSpPr>
          <p:nvPr>
            <p:custDataLst>
              <p:tags r:id="rId7"/>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6" name="Přímá spojnice 33">
            <a:extLst>
              <a:ext uri="{FF2B5EF4-FFF2-40B4-BE49-F238E27FC236}">
                <a16:creationId xmlns:a16="http://schemas.microsoft.com/office/drawing/2014/main" id="{9356E7AA-84D9-4C84-BE21-56B34A4BD0B8}"/>
              </a:ext>
            </a:extLst>
          </p:cNvPr>
          <p:cNvCxnSpPr>
            <a:cxnSpLocks/>
          </p:cNvCxnSpPr>
          <p:nvPr>
            <p:custDataLst>
              <p:tags r:id="rId8"/>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7" name="Přímá spojnice 20">
            <a:extLst>
              <a:ext uri="{FF2B5EF4-FFF2-40B4-BE49-F238E27FC236}">
                <a16:creationId xmlns:a16="http://schemas.microsoft.com/office/drawing/2014/main" id="{1BF08FCB-75BF-424B-A50E-ED808339FDBD}"/>
              </a:ext>
            </a:extLst>
          </p:cNvPr>
          <p:cNvCxnSpPr>
            <a:cxnSpLocks/>
          </p:cNvCxnSpPr>
          <p:nvPr>
            <p:custDataLst>
              <p:tags r:id="rId9"/>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8" name="Přímá spojnice 37">
            <a:extLst>
              <a:ext uri="{FF2B5EF4-FFF2-40B4-BE49-F238E27FC236}">
                <a16:creationId xmlns:a16="http://schemas.microsoft.com/office/drawing/2014/main" id="{353BC6EB-C235-4573-A725-0948F12F9BC1}"/>
              </a:ext>
            </a:extLst>
          </p:cNvPr>
          <p:cNvCxnSpPr>
            <a:cxnSpLocks/>
          </p:cNvCxnSpPr>
          <p:nvPr/>
        </p:nvCxnSpPr>
        <p:spPr>
          <a:xfrm flipV="1">
            <a:off x="1031638" y="4839145"/>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Přímá spojnice 38">
            <a:extLst>
              <a:ext uri="{FF2B5EF4-FFF2-40B4-BE49-F238E27FC236}">
                <a16:creationId xmlns:a16="http://schemas.microsoft.com/office/drawing/2014/main" id="{DE892B4C-52B0-4B6E-A5B1-82EF37DD4BC1}"/>
              </a:ext>
            </a:extLst>
          </p:cNvPr>
          <p:cNvCxnSpPr>
            <a:cxnSpLocks/>
          </p:cNvCxnSpPr>
          <p:nvPr/>
        </p:nvCxnSpPr>
        <p:spPr>
          <a:xfrm>
            <a:off x="6975238"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0" name="TextovéPole 39">
            <a:extLst>
              <a:ext uri="{FF2B5EF4-FFF2-40B4-BE49-F238E27FC236}">
                <a16:creationId xmlns:a16="http://schemas.microsoft.com/office/drawing/2014/main" id="{5FEE066D-6982-4881-855C-FDC2A336DCE2}"/>
              </a:ext>
            </a:extLst>
          </p:cNvPr>
          <p:cNvSpPr txBox="1"/>
          <p:nvPr/>
        </p:nvSpPr>
        <p:spPr>
          <a:xfrm>
            <a:off x="2429551" y="4453030"/>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
        <p:nvSpPr>
          <p:cNvPr id="24" name="TextovéPole 23">
            <a:extLst>
              <a:ext uri="{FF2B5EF4-FFF2-40B4-BE49-F238E27FC236}">
                <a16:creationId xmlns:a16="http://schemas.microsoft.com/office/drawing/2014/main" id="{23491E02-101B-4841-8719-3E0362196312}"/>
              </a:ext>
            </a:extLst>
          </p:cNvPr>
          <p:cNvSpPr txBox="1"/>
          <p:nvPr/>
        </p:nvSpPr>
        <p:spPr>
          <a:xfrm>
            <a:off x="2075050" y="1417724"/>
            <a:ext cx="4060612" cy="1569660"/>
          </a:xfrm>
          <a:prstGeom prst="rect">
            <a:avLst/>
          </a:prstGeom>
          <a:noFill/>
        </p:spPr>
        <p:txBody>
          <a:bodyPr wrap="square" rtlCol="0">
            <a:spAutoFit/>
          </a:bodyPr>
          <a:lstStyle/>
          <a:p>
            <a:r>
              <a:rPr lang="cs-CZ" sz="2400" b="1" dirty="0">
                <a:solidFill>
                  <a:srgbClr val="0000FF"/>
                </a:solidFill>
              </a:rPr>
              <a:t>Vývoj sleduje predikce dané realistickým scénářem </a:t>
            </a:r>
          </a:p>
          <a:p>
            <a:r>
              <a:rPr lang="cs-CZ" sz="2400" b="1" dirty="0">
                <a:solidFill>
                  <a:srgbClr val="0000FF"/>
                </a:solidFill>
              </a:rPr>
              <a:t>a neeskaluje do rizikových hodnot. </a:t>
            </a:r>
          </a:p>
        </p:txBody>
      </p:sp>
    </p:spTree>
    <p:extLst>
      <p:ext uri="{BB962C8B-B14F-4D97-AF65-F5344CB8AC3E}">
        <p14:creationId xmlns:p14="http://schemas.microsoft.com/office/powerpoint/2010/main" val="2412676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295275" y="3693109"/>
            <a:ext cx="11737724" cy="2238375"/>
          </a:xfrm>
        </p:spPr>
        <p:txBody>
          <a:bodyPr>
            <a:normAutofit/>
          </a:bodyPr>
          <a:lstStyle/>
          <a:p>
            <a:r>
              <a:rPr lang="cs-CZ" sz="5000" b="1" dirty="0"/>
              <a:t>Srovnání situace s rokem 2020</a:t>
            </a:r>
          </a:p>
        </p:txBody>
      </p:sp>
    </p:spTree>
    <p:extLst>
      <p:ext uri="{BB962C8B-B14F-4D97-AF65-F5344CB8AC3E}">
        <p14:creationId xmlns:p14="http://schemas.microsoft.com/office/powerpoint/2010/main" val="2818865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Počty COVID-19 pozitivních v ČR na 100 000 v populaci</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22168" y="1382699"/>
          <a:ext cx="10661843" cy="5365347"/>
        </p:xfrm>
        <a:graphic>
          <a:graphicData uri="http://schemas.openxmlformats.org/drawingml/2006/chart">
            <c:chart xmlns:c="http://schemas.openxmlformats.org/drawingml/2006/chart" xmlns:r="http://schemas.openxmlformats.org/officeDocument/2006/relationships" r:id="rId4"/>
          </a:graphicData>
        </a:graphic>
      </p:graphicFrame>
      <p:sp>
        <p:nvSpPr>
          <p:cNvPr id="12" name="Obdélník 11">
            <a:extLst>
              <a:ext uri="{FF2B5EF4-FFF2-40B4-BE49-F238E27FC236}">
                <a16:creationId xmlns:a16="http://schemas.microsoft.com/office/drawing/2014/main" id="{47330F7D-030D-49C8-BE37-CEFFFE48B489}"/>
              </a:ext>
            </a:extLst>
          </p:cNvPr>
          <p:cNvSpPr/>
          <p:nvPr/>
        </p:nvSpPr>
        <p:spPr>
          <a:xfrm>
            <a:off x="137649" y="175729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Tree>
    <p:extLst>
      <p:ext uri="{BB962C8B-B14F-4D97-AF65-F5344CB8AC3E}">
        <p14:creationId xmlns:p14="http://schemas.microsoft.com/office/powerpoint/2010/main" val="4201224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Počty COVID-19 pozitivních v ČR (absolutní počty)</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22168" y="1118929"/>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3"/>
            </p:custDataLst>
          </p:nvPr>
        </p:nvSpPr>
        <p:spPr>
          <a:xfrm>
            <a:off x="67310" y="3137689"/>
            <a:ext cx="1254858" cy="83099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a:t>
            </a:r>
          </a:p>
        </p:txBody>
      </p:sp>
    </p:spTree>
    <p:extLst>
      <p:ext uri="{BB962C8B-B14F-4D97-AF65-F5344CB8AC3E}">
        <p14:creationId xmlns:p14="http://schemas.microsoft.com/office/powerpoint/2010/main" val="1864060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Relativní pozitivita PCR testů</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22168" y="1286012"/>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3"/>
            </p:custDataLst>
          </p:nvPr>
        </p:nvSpPr>
        <p:spPr>
          <a:xfrm>
            <a:off x="67310" y="3137689"/>
            <a:ext cx="1254858" cy="83099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Relativní pozitivita PCR testů</a:t>
            </a:r>
            <a:endPar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880215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0"/>
            <a:ext cx="10186615" cy="576000"/>
          </a:xfrm>
        </p:spPr>
        <p:txBody>
          <a:bodyPr/>
          <a:lstStyle/>
          <a:p>
            <a:pPr lvl="0" fontAlgn="b">
              <a:defRPr/>
            </a:pPr>
            <a:r>
              <a:rPr lang="cs-CZ" dirty="0"/>
              <a:t>Počet hospitalizovaných s Covid-19 v nemocnicích</a:t>
            </a:r>
            <a:endParaRPr lang="cs-CZ" dirty="0">
              <a:solidFill>
                <a:srgbClr val="000000"/>
              </a:solidFill>
              <a:latin typeface="Calibri" panose="020F0502020204030204" pitchFamily="34" charset="0"/>
            </a:endParaRPr>
          </a:p>
        </p:txBody>
      </p:sp>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161924" y="2351782"/>
            <a:ext cx="1476375" cy="156966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čet hospitalizovaných s Covid-19 </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v nemocnicích</a:t>
            </a:r>
            <a:endPar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5" name="Graf 4">
            <a:extLst>
              <a:ext uri="{FF2B5EF4-FFF2-40B4-BE49-F238E27FC236}">
                <a16:creationId xmlns:a16="http://schemas.microsoft.com/office/drawing/2014/main" id="{F0940627-B539-448F-BD6F-5C7B63E6A7B0}"/>
              </a:ext>
            </a:extLst>
          </p:cNvPr>
          <p:cNvGraphicFramePr/>
          <p:nvPr>
            <p:custDataLst>
              <p:tags r:id="rId3"/>
            </p:custDataLst>
          </p:nvPr>
        </p:nvGraphicFramePr>
        <p:xfrm>
          <a:off x="1530157" y="1171683"/>
          <a:ext cx="10661843" cy="53653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1460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0"/>
            <a:ext cx="10186615" cy="576000"/>
          </a:xfrm>
        </p:spPr>
        <p:txBody>
          <a:bodyPr/>
          <a:lstStyle/>
          <a:p>
            <a:pPr lvl="0" fontAlgn="b">
              <a:defRPr/>
            </a:pPr>
            <a:r>
              <a:rPr lang="cs-CZ" dirty="0"/>
              <a:t>Počet hospitalizovaných na JIP s Covid-19 v nemocnicích</a:t>
            </a:r>
            <a:endParaRPr lang="cs-CZ" dirty="0">
              <a:solidFill>
                <a:srgbClr val="000000"/>
              </a:solidFill>
              <a:latin typeface="Calibri" panose="020F0502020204030204" pitchFamily="34" charset="0"/>
            </a:endParaRPr>
          </a:p>
        </p:txBody>
      </p:sp>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70338" y="2351782"/>
            <a:ext cx="1521069" cy="135421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čet hospitalizovaných na JIP s Covid-19 v nemocnicích</a:t>
            </a:r>
            <a:endPar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5" name="Graf 4">
            <a:extLst>
              <a:ext uri="{FF2B5EF4-FFF2-40B4-BE49-F238E27FC236}">
                <a16:creationId xmlns:a16="http://schemas.microsoft.com/office/drawing/2014/main" id="{F0940627-B539-448F-BD6F-5C7B63E6A7B0}"/>
              </a:ext>
            </a:extLst>
          </p:cNvPr>
          <p:cNvGraphicFramePr/>
          <p:nvPr>
            <p:custDataLst>
              <p:tags r:id="rId3"/>
            </p:custDataLst>
          </p:nvPr>
        </p:nvGraphicFramePr>
        <p:xfrm>
          <a:off x="1530157" y="1171683"/>
          <a:ext cx="10661843" cy="53653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8737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ázek 10">
            <a:extLst>
              <a:ext uri="{FF2B5EF4-FFF2-40B4-BE49-F238E27FC236}">
                <a16:creationId xmlns:a16="http://schemas.microsoft.com/office/drawing/2014/main" id="{7B36FDB3-EA4F-4B02-BCCB-32845AFC8747}"/>
              </a:ext>
            </a:extLst>
          </p:cNvPr>
          <p:cNvPicPr>
            <a:picLocks noChangeAspect="1"/>
          </p:cNvPicPr>
          <p:nvPr>
            <p:custDataLst>
              <p:tags r:id="rId1"/>
            </p:custDataLst>
          </p:nvPr>
        </p:nvPicPr>
        <p:blipFill>
          <a:blip r:embed="rId10"/>
          <a:stretch>
            <a:fillRect/>
          </a:stretch>
        </p:blipFill>
        <p:spPr>
          <a:xfrm>
            <a:off x="381175" y="1129848"/>
            <a:ext cx="11622229" cy="1374482"/>
          </a:xfrm>
          <a:prstGeom prst="rect">
            <a:avLst/>
          </a:prstGeom>
        </p:spPr>
      </p:pic>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84882" y="44164"/>
            <a:ext cx="11622229" cy="8869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2800" b="1" i="0" u="none" strike="noStrike" kern="1200" cap="none" spc="0" normalizeH="0" baseline="0" noProof="0" dirty="0">
                <a:ln>
                  <a:noFill/>
                </a:ln>
                <a:solidFill>
                  <a:srgbClr val="0000FF"/>
                </a:solidFill>
                <a:effectLst/>
                <a:uLnTx/>
                <a:uFillTx/>
                <a:latin typeface="Calibri" panose="020F0502020204030204"/>
                <a:ea typeface="+mn-ea"/>
                <a:cs typeface="+mn-cs"/>
              </a:rPr>
              <a:t>Vyšší počet nově zachycených nákaz je patrný zejména v populaci dětí ve věku do 15  let, mírný nárůst byl ale zaznamenán i ve věku 65+ let. </a:t>
            </a:r>
          </a:p>
        </p:txBody>
      </p:sp>
      <p:sp>
        <p:nvSpPr>
          <p:cNvPr id="3" name="Pravá složená závorka 2"/>
          <p:cNvSpPr/>
          <p:nvPr>
            <p:custDataLst>
              <p:tags r:id="rId3"/>
            </p:custDataLst>
          </p:nvPr>
        </p:nvSpPr>
        <p:spPr>
          <a:xfrm rot="5400000">
            <a:off x="5330273" y="890825"/>
            <a:ext cx="251927" cy="3311526"/>
          </a:xfrm>
          <a:prstGeom prst="rightBrace">
            <a:avLst>
              <a:gd name="adj1" fmla="val 8332"/>
              <a:gd name="adj2" fmla="val 50000"/>
            </a:avLst>
          </a:prstGeom>
          <a:solidFill>
            <a:srgbClr val="003399"/>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ovéPole 3"/>
          <p:cNvSpPr txBox="1"/>
          <p:nvPr>
            <p:custDataLst>
              <p:tags r:id="rId4"/>
            </p:custDataLst>
          </p:nvPr>
        </p:nvSpPr>
        <p:spPr>
          <a:xfrm>
            <a:off x="385504" y="3752848"/>
            <a:ext cx="4787573"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3399"/>
                </a:solidFill>
                <a:effectLst/>
                <a:uLnTx/>
                <a:uFillTx/>
                <a:latin typeface="Calibri" panose="020F0502020204030204"/>
                <a:ea typeface="+mn-ea"/>
                <a:cs typeface="+mn-cs"/>
              </a:rPr>
              <a:t>Vyšší zátěž mladé populace se týká více krajů, zátěž mladé populace v čase osciluje nebo roste – zejména ve třídě 1 – 15 let. </a:t>
            </a:r>
          </a:p>
        </p:txBody>
      </p:sp>
      <p:sp>
        <p:nvSpPr>
          <p:cNvPr id="5" name="Obdélník 4"/>
          <p:cNvSpPr/>
          <p:nvPr>
            <p:custDataLst>
              <p:tags r:id="rId5"/>
            </p:custDataLst>
          </p:nvPr>
        </p:nvSpPr>
        <p:spPr>
          <a:xfrm>
            <a:off x="3800475" y="1661601"/>
            <a:ext cx="3311526" cy="70125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Šipka: doprava 1">
            <a:extLst>
              <a:ext uri="{FF2B5EF4-FFF2-40B4-BE49-F238E27FC236}">
                <a16:creationId xmlns:a16="http://schemas.microsoft.com/office/drawing/2014/main" id="{C64B278F-45F4-4032-9594-5BF873E58EA0}"/>
              </a:ext>
            </a:extLst>
          </p:cNvPr>
          <p:cNvSpPr/>
          <p:nvPr/>
        </p:nvSpPr>
        <p:spPr>
          <a:xfrm rot="8782180">
            <a:off x="4063791" y="2989377"/>
            <a:ext cx="1450109" cy="4466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Šipka: doprava 12">
            <a:extLst>
              <a:ext uri="{FF2B5EF4-FFF2-40B4-BE49-F238E27FC236}">
                <a16:creationId xmlns:a16="http://schemas.microsoft.com/office/drawing/2014/main" id="{2D4E9147-71A0-4DDE-9217-19E57732C2E7}"/>
              </a:ext>
            </a:extLst>
          </p:cNvPr>
          <p:cNvSpPr/>
          <p:nvPr/>
        </p:nvSpPr>
        <p:spPr>
          <a:xfrm rot="7999183">
            <a:off x="6860526" y="3426558"/>
            <a:ext cx="1222915" cy="4466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Pravá složená závorka 13">
            <a:extLst>
              <a:ext uri="{FF2B5EF4-FFF2-40B4-BE49-F238E27FC236}">
                <a16:creationId xmlns:a16="http://schemas.microsoft.com/office/drawing/2014/main" id="{B3004FDF-ABD2-4A70-A612-696E68C9F5A6}"/>
              </a:ext>
            </a:extLst>
          </p:cNvPr>
          <p:cNvSpPr/>
          <p:nvPr>
            <p:custDataLst>
              <p:tags r:id="rId6"/>
            </p:custDataLst>
          </p:nvPr>
        </p:nvSpPr>
        <p:spPr>
          <a:xfrm rot="5400000">
            <a:off x="7927999" y="1670667"/>
            <a:ext cx="251927" cy="2272433"/>
          </a:xfrm>
          <a:prstGeom prst="rightBrace">
            <a:avLst>
              <a:gd name="adj1" fmla="val 8332"/>
              <a:gd name="adj2" fmla="val 50000"/>
            </a:avLst>
          </a:prstGeom>
          <a:solidFill>
            <a:srgbClr val="003399"/>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ovéPole 14">
            <a:extLst>
              <a:ext uri="{FF2B5EF4-FFF2-40B4-BE49-F238E27FC236}">
                <a16:creationId xmlns:a16="http://schemas.microsoft.com/office/drawing/2014/main" id="{08DCB69C-2EEE-4663-94BE-19806589BF2F}"/>
              </a:ext>
            </a:extLst>
          </p:cNvPr>
          <p:cNvSpPr txBox="1"/>
          <p:nvPr>
            <p:custDataLst>
              <p:tags r:id="rId7"/>
            </p:custDataLst>
          </p:nvPr>
        </p:nvSpPr>
        <p:spPr>
          <a:xfrm>
            <a:off x="5416280" y="4150866"/>
            <a:ext cx="3771916"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3399"/>
                </a:solidFill>
                <a:effectLst/>
                <a:uLnTx/>
                <a:uFillTx/>
                <a:latin typeface="Calibri" panose="020F0502020204030204"/>
                <a:ea typeface="+mn-ea"/>
                <a:cs typeface="+mn-cs"/>
              </a:rPr>
              <a:t>Vyšší růst se netýká pouze žáků a studentů škol, roste zátěž i u mladých kategorií dospělých </a:t>
            </a:r>
          </a:p>
        </p:txBody>
      </p:sp>
      <p:sp>
        <p:nvSpPr>
          <p:cNvPr id="16" name="TextovéPole 15">
            <a:extLst>
              <a:ext uri="{FF2B5EF4-FFF2-40B4-BE49-F238E27FC236}">
                <a16:creationId xmlns:a16="http://schemas.microsoft.com/office/drawing/2014/main" id="{D7E64E3D-0EAA-408A-8A96-7182F074B601}"/>
              </a:ext>
            </a:extLst>
          </p:cNvPr>
          <p:cNvSpPr txBox="1"/>
          <p:nvPr>
            <p:custDataLst>
              <p:tags r:id="rId8"/>
            </p:custDataLst>
          </p:nvPr>
        </p:nvSpPr>
        <p:spPr>
          <a:xfrm>
            <a:off x="9307529" y="4471910"/>
            <a:ext cx="2695875" cy="230832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3399"/>
                </a:solidFill>
                <a:effectLst/>
                <a:uLnTx/>
                <a:uFillTx/>
                <a:latin typeface="Calibri" panose="020F0502020204030204"/>
                <a:ea typeface="+mn-ea"/>
                <a:cs typeface="+mn-cs"/>
              </a:rPr>
              <a:t>Mírně v posledním týdnu narostla zátěž seniorní populace 65+, počty záchytů jsou ale stále nízké </a:t>
            </a:r>
          </a:p>
        </p:txBody>
      </p:sp>
      <p:sp>
        <p:nvSpPr>
          <p:cNvPr id="17" name="Šipka: doprava 16">
            <a:extLst>
              <a:ext uri="{FF2B5EF4-FFF2-40B4-BE49-F238E27FC236}">
                <a16:creationId xmlns:a16="http://schemas.microsoft.com/office/drawing/2014/main" id="{1DBCA9EE-85BA-4106-9777-0F029F736680}"/>
              </a:ext>
            </a:extLst>
          </p:cNvPr>
          <p:cNvSpPr/>
          <p:nvPr/>
        </p:nvSpPr>
        <p:spPr>
          <a:xfrm rot="5400000">
            <a:off x="10006275" y="3205676"/>
            <a:ext cx="1745029" cy="4466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667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v ČR na 100 000 v populaci</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392507" y="1602506"/>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nvSpPr>
        <p:spPr>
          <a:xfrm>
            <a:off x="137649" y="175729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13" name="TextovéPole 12">
            <a:extLst>
              <a:ext uri="{FF2B5EF4-FFF2-40B4-BE49-F238E27FC236}">
                <a16:creationId xmlns:a16="http://schemas.microsoft.com/office/drawing/2014/main" id="{018CB2AB-0F5A-4FCE-8034-F8F60A89895F}"/>
              </a:ext>
            </a:extLst>
          </p:cNvPr>
          <p:cNvSpPr txBox="1"/>
          <p:nvPr>
            <p:custDataLst>
              <p:tags r:id="rId2"/>
            </p:custDataLst>
          </p:nvPr>
        </p:nvSpPr>
        <p:spPr>
          <a:xfrm>
            <a:off x="283367" y="704533"/>
            <a:ext cx="11344275"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roste téměř ve všech věkových kategoriích, nejví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však v populaci mladých dospělých do 30 let.</a:t>
            </a:r>
            <a:endParaRPr kumimoji="0" lang="cs-CZ" sz="22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endParaRPr>
          </a:p>
        </p:txBody>
      </p:sp>
      <p:sp>
        <p:nvSpPr>
          <p:cNvPr id="6" name="Podnadpis 2">
            <a:extLst>
              <a:ext uri="{FF2B5EF4-FFF2-40B4-BE49-F238E27FC236}">
                <a16:creationId xmlns:a16="http://schemas.microsoft.com/office/drawing/2014/main" id="{3DC956FD-6669-4C82-B852-E3CE5A476C50}"/>
              </a:ext>
            </a:extLst>
          </p:cNvPr>
          <p:cNvSpPr txBox="1">
            <a:spLocks/>
          </p:cNvSpPr>
          <p:nvPr>
            <p:custDataLst>
              <p:tags r:id="rId3"/>
            </p:custDataLst>
          </p:nvPr>
        </p:nvSpPr>
        <p:spPr>
          <a:xfrm>
            <a:off x="6096000" y="1704777"/>
            <a:ext cx="3895725" cy="11985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srgbClr val="00B0F0"/>
                </a:solidFill>
                <a:effectLst/>
                <a:uLnTx/>
                <a:uFillTx/>
                <a:latin typeface="Calibri" panose="020F0502020204030204"/>
                <a:ea typeface="+mn-ea"/>
                <a:cs typeface="+mn-cs"/>
              </a:rPr>
              <a:t>V posledních týdnech se zvyšuje počet nově zachycených nákaz u mladých dospělých ve věku nad 18 let. </a:t>
            </a:r>
          </a:p>
        </p:txBody>
      </p:sp>
    </p:spTree>
    <p:extLst>
      <p:ext uri="{BB962C8B-B14F-4D97-AF65-F5344CB8AC3E}">
        <p14:creationId xmlns:p14="http://schemas.microsoft.com/office/powerpoint/2010/main" val="3178556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Počty COVID-19 pozitivních v ČR na 100 000 v populaci</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ISIN – Informační systém infekční nemocí</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92508" y="1399769"/>
          <a:ext cx="10661843" cy="5365347"/>
        </p:xfrm>
        <a:graphic>
          <a:graphicData uri="http://schemas.openxmlformats.org/drawingml/2006/chart">
            <c:chart xmlns:c="http://schemas.openxmlformats.org/drawingml/2006/chart" xmlns:r="http://schemas.openxmlformats.org/officeDocument/2006/relationships" r:id="rId9"/>
          </a:graphicData>
        </a:graphic>
      </p:graphicFrame>
      <p:sp>
        <p:nvSpPr>
          <p:cNvPr id="12" name="Obdélník 11">
            <a:extLst>
              <a:ext uri="{FF2B5EF4-FFF2-40B4-BE49-F238E27FC236}">
                <a16:creationId xmlns:a16="http://schemas.microsoft.com/office/drawing/2014/main" id="{47330F7D-030D-49C8-BE37-CEFFFE48B489}"/>
              </a:ext>
            </a:extLst>
          </p:cNvPr>
          <p:cNvSpPr/>
          <p:nvPr/>
        </p:nvSpPr>
        <p:spPr>
          <a:xfrm>
            <a:off x="137649" y="238654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15" name="TextovéPole 14">
            <a:extLst>
              <a:ext uri="{FF2B5EF4-FFF2-40B4-BE49-F238E27FC236}">
                <a16:creationId xmlns:a16="http://schemas.microsoft.com/office/drawing/2014/main" id="{018CB2AB-0F5A-4FCE-8034-F8F60A89895F}"/>
              </a:ext>
            </a:extLst>
          </p:cNvPr>
          <p:cNvSpPr txBox="1"/>
          <p:nvPr>
            <p:custDataLst>
              <p:tags r:id="rId3"/>
            </p:custDataLst>
          </p:nvPr>
        </p:nvSpPr>
        <p:spPr>
          <a:xfrm>
            <a:off x="284265" y="605462"/>
            <a:ext cx="1134427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ve všech věkových kategoriích dětí narůstá, zejména ve věku 12+. </a:t>
            </a:r>
          </a:p>
        </p:txBody>
      </p:sp>
      <p:sp>
        <p:nvSpPr>
          <p:cNvPr id="20" name="Obdélník 19">
            <a:extLst>
              <a:ext uri="{FF2B5EF4-FFF2-40B4-BE49-F238E27FC236}">
                <a16:creationId xmlns:a16="http://schemas.microsoft.com/office/drawing/2014/main" id="{EC83A386-1D77-43BD-98DD-1074CDE32BD0}"/>
              </a:ext>
            </a:extLst>
          </p:cNvPr>
          <p:cNvSpPr/>
          <p:nvPr>
            <p:custDataLst>
              <p:tags r:id="rId4"/>
            </p:custDataLst>
          </p:nvPr>
        </p:nvSpPr>
        <p:spPr>
          <a:xfrm>
            <a:off x="2283672" y="1105710"/>
            <a:ext cx="4195207" cy="830997"/>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d 26. 4. MŠ otevřeny zcela, SŠ a VOŠ praktické vyučování v PLK, HKK, KVK </a:t>
            </a:r>
            <a:br>
              <a:rPr kumimoji="0" lang="cs-CZ"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cs-CZ"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d 3. 5. dále STC, LBK, PAK, PHA s rozšířením rotační výuky 2. st. ZŠ a od 10. 5. ve zbývajících krajích</a:t>
            </a:r>
          </a:p>
        </p:txBody>
      </p:sp>
      <p:sp>
        <p:nvSpPr>
          <p:cNvPr id="25" name="Podnadpis 2">
            <a:extLst>
              <a:ext uri="{FF2B5EF4-FFF2-40B4-BE49-F238E27FC236}">
                <a16:creationId xmlns:a16="http://schemas.microsoft.com/office/drawing/2014/main" id="{3DC956FD-6669-4C82-B852-E3CE5A476C50}"/>
              </a:ext>
            </a:extLst>
          </p:cNvPr>
          <p:cNvSpPr txBox="1">
            <a:spLocks/>
          </p:cNvSpPr>
          <p:nvPr>
            <p:custDataLst>
              <p:tags r:id="rId5"/>
            </p:custDataLst>
          </p:nvPr>
        </p:nvSpPr>
        <p:spPr>
          <a:xfrm>
            <a:off x="4486275" y="2386547"/>
            <a:ext cx="4416122" cy="9700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V posledních týdnech je patrný nárůst počtu ve věkových třídách dětí nad 5 let. </a:t>
            </a:r>
          </a:p>
        </p:txBody>
      </p:sp>
      <p:sp>
        <p:nvSpPr>
          <p:cNvPr id="24" name="Obdélník 23">
            <a:extLst>
              <a:ext uri="{FF2B5EF4-FFF2-40B4-BE49-F238E27FC236}">
                <a16:creationId xmlns:a16="http://schemas.microsoft.com/office/drawing/2014/main" id="{E1EDB432-3750-44DF-8475-8C304539F700}"/>
              </a:ext>
            </a:extLst>
          </p:cNvPr>
          <p:cNvSpPr/>
          <p:nvPr>
            <p:custDataLst>
              <p:tags r:id="rId6"/>
            </p:custDataLst>
          </p:nvPr>
        </p:nvSpPr>
        <p:spPr>
          <a:xfrm>
            <a:off x="2046175" y="2108867"/>
            <a:ext cx="1674438" cy="646331"/>
          </a:xfrm>
          <a:prstGeom prst="rect">
            <a:avLst/>
          </a:prstGeom>
          <a:solidFill>
            <a:schemeClr val="bg1"/>
          </a:solid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d 24. 5. otevřeny ZŠ, SŠ, VOŠ a VŠ bez rotací v celé ČR</a:t>
            </a:r>
          </a:p>
        </p:txBody>
      </p:sp>
      <p:cxnSp>
        <p:nvCxnSpPr>
          <p:cNvPr id="26" name="Přímá spojnice se šipkou 25">
            <a:extLst>
              <a:ext uri="{FF2B5EF4-FFF2-40B4-BE49-F238E27FC236}">
                <a16:creationId xmlns:a16="http://schemas.microsoft.com/office/drawing/2014/main" id="{B5A81F15-FF51-4B48-9C47-E4D279BDBC66}"/>
              </a:ext>
            </a:extLst>
          </p:cNvPr>
          <p:cNvCxnSpPr>
            <a:cxnSpLocks/>
          </p:cNvCxnSpPr>
          <p:nvPr>
            <p:custDataLst>
              <p:tags r:id="rId7"/>
            </p:custDataLst>
          </p:nvPr>
        </p:nvCxnSpPr>
        <p:spPr>
          <a:xfrm>
            <a:off x="2400245" y="2755198"/>
            <a:ext cx="0" cy="378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8983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85737" y="955193"/>
            <a:ext cx="11820525" cy="40934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sng" strike="noStrike" kern="1200" cap="none" spc="0" normalizeH="0" baseline="0" noProof="0" dirty="0">
                <a:ln>
                  <a:noFill/>
                </a:ln>
                <a:effectLst/>
                <a:uLnTx/>
                <a:uFillTx/>
                <a:latin typeface="Calibri" panose="020F0502020204030204"/>
                <a:ea typeface="+mn-ea"/>
                <a:cs typeface="+mn-cs"/>
              </a:rPr>
              <a:t>Rostoucí počet nově nakažených osob na podzim nemusí nutně významně zvyšovat zátěž nemocnic, pokud se podaří co nejvíce proočkovat a ochránit seniorní a potenciálně zranitelnou část populace</a:t>
            </a:r>
            <a:r>
              <a:rPr lang="cs-CZ" sz="2000" b="1" u="sng" dirty="0">
                <a:latin typeface="Calibri" panose="020F0502020204030204"/>
              </a:rPr>
              <a:t> a pokud se udrží účinná ochranná preventivní opatření. </a:t>
            </a:r>
            <a:endParaRPr kumimoji="0" lang="cs-CZ" sz="2000" i="0" strike="noStrike" kern="1200" cap="none" spc="0" normalizeH="0" baseline="0" noProof="0" dirty="0">
              <a:ln>
                <a:noFill/>
              </a:ln>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2000" b="1" i="0" u="sng" strike="noStrike" kern="1200" cap="none" spc="0" normalizeH="0" baseline="0" noProof="0" dirty="0">
              <a:ln>
                <a:noFill/>
              </a:ln>
              <a:effectLst/>
              <a:uLnTx/>
              <a:uFillTx/>
              <a:latin typeface="Calibri" panose="020F0502020204030204"/>
              <a:ea typeface="+mn-ea"/>
              <a:cs typeface="+mn-cs"/>
            </a:endParaRPr>
          </a:p>
          <a:p>
            <a:pPr marL="342900" marR="0" lvl="0" indent="-342900"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i="0" u="sng" strike="noStrike" kern="1200" cap="none" spc="0" normalizeH="0" baseline="0" noProof="0" dirty="0">
                <a:ln>
                  <a:noFill/>
                </a:ln>
                <a:effectLst/>
                <a:uLnTx/>
                <a:uFillTx/>
                <a:latin typeface="Calibri" panose="020F0502020204030204"/>
                <a:ea typeface="+mn-ea"/>
                <a:cs typeface="+mn-cs"/>
              </a:rPr>
              <a:t>V ČR je stále cca 520 000 neočkovaných osob ve věku 60+</a:t>
            </a:r>
            <a:r>
              <a:rPr kumimoji="0" lang="cs-CZ" sz="2000" i="0" strike="noStrike" kern="1200" cap="none" spc="0" normalizeH="0" baseline="0" noProof="0" dirty="0">
                <a:ln>
                  <a:noFill/>
                </a:ln>
                <a:effectLst/>
                <a:uLnTx/>
                <a:uFillTx/>
                <a:latin typeface="Calibri" panose="020F0502020204030204"/>
                <a:ea typeface="+mn-ea"/>
                <a:cs typeface="+mn-cs"/>
              </a:rPr>
              <a:t> </a:t>
            </a:r>
            <a:r>
              <a:rPr kumimoji="0" lang="cs-CZ" sz="2000" i="0" u="none" strike="noStrike" kern="1200" cap="none" spc="0" normalizeH="0" baseline="0" noProof="0" dirty="0">
                <a:ln>
                  <a:noFill/>
                </a:ln>
                <a:effectLst/>
                <a:uLnTx/>
                <a:uFillTx/>
                <a:latin typeface="Calibri" panose="020F0502020204030204"/>
                <a:ea typeface="+mn-ea"/>
                <a:cs typeface="+mn-cs"/>
              </a:rPr>
              <a:t>(cca 80% populace 60+ je již očkována alespoň jednou dávkou). Z retrospektivní analýzy vyplývá, že u cca 90 000 těchto osob lze předpokládat přirozenou ochranu danou proděláním nemoci. </a:t>
            </a:r>
            <a:r>
              <a:rPr lang="cs-CZ" sz="2000" b="1" u="sng" dirty="0">
                <a:solidFill>
                  <a:srgbClr val="C00000"/>
                </a:solidFill>
                <a:latin typeface="Calibri" panose="020F0502020204030204"/>
              </a:rPr>
              <a:t>Stále tedy zbývá vysoký počet potenciálně zranitelných osob (cca 420 000), které jsou z velké části primárně naivní vůči nákaze</a:t>
            </a:r>
            <a:r>
              <a:rPr lang="cs-CZ" sz="2000" b="1" dirty="0">
                <a:solidFill>
                  <a:srgbClr val="C00000"/>
                </a:solidFill>
                <a:latin typeface="Calibri" panose="020F0502020204030204"/>
              </a:rPr>
              <a:t>. </a:t>
            </a:r>
            <a:r>
              <a:rPr lang="cs-CZ" sz="2000" dirty="0">
                <a:latin typeface="Calibri" panose="020F0502020204030204"/>
              </a:rPr>
              <a:t>Dle populačních statistik více než 60% těchto osob trpí jednou či více chronickými chorobami, které jejich potenciální zranitelnost zvyšují. Situaci může komplikovat i časový vývoj – tedy ztráta nebo částečné snížení imunitní ochrany u velmi seniorní a </a:t>
            </a:r>
            <a:r>
              <a:rPr lang="cs-CZ" sz="2000" dirty="0" err="1">
                <a:latin typeface="Calibri" panose="020F0502020204030204"/>
              </a:rPr>
              <a:t>polymorbidní</a:t>
            </a:r>
            <a:r>
              <a:rPr lang="cs-CZ" sz="2000" dirty="0">
                <a:latin typeface="Calibri" panose="020F0502020204030204"/>
              </a:rPr>
              <a:t> populace, která byla očkována v 1. fázi vakcinace (leden – únor 2021 -&gt; na podzim to bude již déle než 8 – 9 měsíců, síla ochrany může u nemocných a starých lidí klesat). </a:t>
            </a:r>
          </a:p>
          <a:p>
            <a:pPr marL="342900" marR="0" lvl="0" indent="-342900"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cs-CZ" sz="2000" dirty="0">
              <a:latin typeface="Calibri" panose="020F0502020204030204"/>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183653" y="211731"/>
            <a:ext cx="11618346" cy="62864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OUHRN </a:t>
            </a:r>
          </a:p>
        </p:txBody>
      </p:sp>
    </p:spTree>
    <p:extLst>
      <p:ext uri="{BB962C8B-B14F-4D97-AF65-F5344CB8AC3E}">
        <p14:creationId xmlns:p14="http://schemas.microsoft.com/office/powerpoint/2010/main" val="2911550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Vstupní předpoklady </a:t>
            </a:r>
          </a:p>
          <a:p>
            <a:r>
              <a:rPr lang="cs-CZ" sz="5200" b="1" dirty="0"/>
              <a:t>a hlavní rizikové faktory</a:t>
            </a:r>
            <a:endParaRPr lang="cs-CZ" sz="4200" i="1" dirty="0"/>
          </a:p>
        </p:txBody>
      </p:sp>
    </p:spTree>
    <p:extLst>
      <p:ext uri="{BB962C8B-B14F-4D97-AF65-F5344CB8AC3E}">
        <p14:creationId xmlns:p14="http://schemas.microsoft.com/office/powerpoint/2010/main" val="135751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937620" y="1986055"/>
            <a:ext cx="10967642" cy="132343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I přes značně postupující očkování celé populace (dospělá populace je proočkovaná 1. dávkou z více než 65% a více než 63% má očkování ukončeno) je v populaci stále velké množství osob neočkovaných nebo očkovaných pouze jednou dávkou. </a:t>
            </a:r>
            <a:r>
              <a:rPr lang="cs-CZ" sz="2000" b="1" dirty="0">
                <a:solidFill>
                  <a:srgbClr val="C00000"/>
                </a:solidFill>
                <a:latin typeface="Calibri" panose="020F0502020204030204"/>
              </a:rPr>
              <a:t>Tito lidé b</a:t>
            </a:r>
            <a:r>
              <a:rPr kumimoji="0" lang="cs-CZ" sz="2000" b="1" i="0" u="none" strike="noStrike" kern="1200" cap="none" spc="0" normalizeH="0" baseline="0" noProof="0" dirty="0" err="1">
                <a:ln>
                  <a:noFill/>
                </a:ln>
                <a:solidFill>
                  <a:srgbClr val="C00000"/>
                </a:solidFill>
                <a:effectLst/>
                <a:uLnTx/>
                <a:uFillTx/>
                <a:latin typeface="Calibri" panose="020F0502020204030204"/>
                <a:ea typeface="+mn-ea"/>
                <a:cs typeface="+mn-cs"/>
              </a:rPr>
              <a:t>udou</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 náchylní k nákaze převažující a nyní se šířící variantou viru Delta.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e značnou mírou rizika a s možností eskalace nákazy</a:t>
            </a:r>
          </a:p>
        </p:txBody>
      </p:sp>
      <p:sp>
        <p:nvSpPr>
          <p:cNvPr id="9" name="TextovéPole 8">
            <a:extLst>
              <a:ext uri="{FF2B5EF4-FFF2-40B4-BE49-F238E27FC236}">
                <a16:creationId xmlns:a16="http://schemas.microsoft.com/office/drawing/2014/main" id="{4FC02F70-D7F8-4545-8FCA-9B8539DE9C7C}"/>
              </a:ext>
            </a:extLst>
          </p:cNvPr>
          <p:cNvSpPr txBox="1"/>
          <p:nvPr>
            <p:custDataLst>
              <p:tags r:id="rId3"/>
            </p:custDataLst>
          </p:nvPr>
        </p:nvSpPr>
        <p:spPr>
          <a:xfrm>
            <a:off x="937620" y="3497350"/>
            <a:ext cx="10967642" cy="132343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Proočkovanost populace mladšího a středního věku je stále nedostatečná (cca 50% s jednou dávkou) pro vytvoření kolektivní imunitní bariéry. Ještě více to platí pro mladé lidi pod 20 let a pro děti ve věku 12 – 15 let. </a:t>
            </a:r>
            <a:r>
              <a:rPr lang="cs-CZ" sz="2000" b="1" dirty="0">
                <a:solidFill>
                  <a:srgbClr val="C00000"/>
                </a:solidFill>
                <a:latin typeface="Calibri" panose="020F0502020204030204"/>
              </a:rPr>
              <a:t>Virus tak může v těchto skupinách vytvářet významnou populační nálož a po návratu populace do běžného života v září / říjnu může opět významně růst počet nově nakažených.</a:t>
            </a:r>
            <a:endPar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2656B546-2D81-4765-AAC5-55B2DB1E6D6B}"/>
              </a:ext>
            </a:extLst>
          </p:cNvPr>
          <p:cNvSpPr txBox="1"/>
          <p:nvPr/>
        </p:nvSpPr>
        <p:spPr>
          <a:xfrm>
            <a:off x="114300" y="2324608"/>
            <a:ext cx="733425" cy="646331"/>
          </a:xfrm>
          <a:prstGeom prst="rect">
            <a:avLst/>
          </a:prstGeom>
          <a:solidFill>
            <a:srgbClr val="C00000"/>
          </a:solidFill>
        </p:spPr>
        <p:txBody>
          <a:bodyPr wrap="square" rtlCol="0">
            <a:spAutoFit/>
          </a:bodyPr>
          <a:lstStyle/>
          <a:p>
            <a:pPr algn="ctr"/>
            <a:r>
              <a:rPr lang="cs-CZ" sz="3600" b="1" dirty="0">
                <a:solidFill>
                  <a:schemeClr val="bg1"/>
                </a:solidFill>
              </a:rPr>
              <a:t>1.</a:t>
            </a:r>
          </a:p>
        </p:txBody>
      </p:sp>
      <p:sp>
        <p:nvSpPr>
          <p:cNvPr id="11" name="TextovéPole 10">
            <a:extLst>
              <a:ext uri="{FF2B5EF4-FFF2-40B4-BE49-F238E27FC236}">
                <a16:creationId xmlns:a16="http://schemas.microsoft.com/office/drawing/2014/main" id="{EAD78B70-AB33-448D-85A7-9C0CB36BF311}"/>
              </a:ext>
            </a:extLst>
          </p:cNvPr>
          <p:cNvSpPr txBox="1"/>
          <p:nvPr/>
        </p:nvSpPr>
        <p:spPr>
          <a:xfrm>
            <a:off x="114300" y="3808388"/>
            <a:ext cx="733425" cy="646331"/>
          </a:xfrm>
          <a:prstGeom prst="rect">
            <a:avLst/>
          </a:prstGeom>
          <a:solidFill>
            <a:srgbClr val="C00000"/>
          </a:solidFill>
        </p:spPr>
        <p:txBody>
          <a:bodyPr wrap="square" rtlCol="0">
            <a:spAutoFit/>
          </a:bodyPr>
          <a:lstStyle/>
          <a:p>
            <a:pPr algn="ctr"/>
            <a:r>
              <a:rPr lang="cs-CZ" sz="3600" b="1" dirty="0">
                <a:solidFill>
                  <a:schemeClr val="bg1"/>
                </a:solidFill>
              </a:rPr>
              <a:t>2.</a:t>
            </a:r>
          </a:p>
        </p:txBody>
      </p:sp>
      <p:sp>
        <p:nvSpPr>
          <p:cNvPr id="12" name="Šipka dolů 5">
            <a:extLst>
              <a:ext uri="{FF2B5EF4-FFF2-40B4-BE49-F238E27FC236}">
                <a16:creationId xmlns:a16="http://schemas.microsoft.com/office/drawing/2014/main" id="{902FC3E1-0405-49C2-A95C-429D795A0911}"/>
              </a:ext>
            </a:extLst>
          </p:cNvPr>
          <p:cNvSpPr/>
          <p:nvPr/>
        </p:nvSpPr>
        <p:spPr>
          <a:xfrm>
            <a:off x="5164700" y="5008645"/>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B12CA35A-8650-4BED-8198-C3F1E99385DA}"/>
              </a:ext>
            </a:extLst>
          </p:cNvPr>
          <p:cNvSpPr txBox="1"/>
          <p:nvPr/>
        </p:nvSpPr>
        <p:spPr>
          <a:xfrm>
            <a:off x="414337" y="5580757"/>
            <a:ext cx="11421705" cy="1200329"/>
          </a:xfrm>
          <a:prstGeom prst="rect">
            <a:avLst/>
          </a:prstGeom>
          <a:noFill/>
        </p:spPr>
        <p:txBody>
          <a:bodyPr wrap="square" rtlCol="0">
            <a:spAutoFit/>
          </a:bodyPr>
          <a:lstStyle/>
          <a:p>
            <a:pPr algn="ctr"/>
            <a:r>
              <a:rPr lang="cs-CZ" sz="2400" i="1" dirty="0"/>
              <a:t>Oba tyto faktory determinují potenciál epidemie k dalšímu populačnímu růstu. Rychlost očkování osob v produktivním věku a mladistvých je zásadní pro vytvoření účinné ochrany ve školních a pracovních kolektivech. </a:t>
            </a:r>
          </a:p>
        </p:txBody>
      </p:sp>
    </p:spTree>
    <p:extLst>
      <p:ext uri="{BB962C8B-B14F-4D97-AF65-F5344CB8AC3E}">
        <p14:creationId xmlns:p14="http://schemas.microsoft.com/office/powerpoint/2010/main" val="42699448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False"/>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9.xml><?xml version="1.0" encoding="utf-8"?>
<p:tagLst xmlns:a="http://schemas.openxmlformats.org/drawingml/2006/main" xmlns:r="http://schemas.openxmlformats.org/officeDocument/2006/relationships" xmlns:p="http://schemas.openxmlformats.org/presentationml/2006/main">
  <p:tag name="SLIDEFAB_EXPORTMODE" val="2"/>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otiv systému Office">
  <a:themeElements>
    <a:clrScheme name="Vlastní 2">
      <a:dk1>
        <a:srgbClr val="5F5F5F"/>
      </a:dk1>
      <a:lt1>
        <a:sysClr val="window" lastClr="FFFFFF"/>
      </a:lt1>
      <a:dk2>
        <a:srgbClr val="84848E"/>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zentace2" id="{2F500C3B-2BAF-4CA5-849A-B1EC376A25DB}" vid="{C99570C5-ACCF-4382-8246-136F83C28052}"/>
    </a:ext>
  </a:extLst>
</a:theme>
</file>

<file path=ppt/theme/theme4.xml><?xml version="1.0" encoding="utf-8"?>
<a:theme xmlns:a="http://schemas.openxmlformats.org/drawingml/2006/main" name="3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5.xml><?xml version="1.0" encoding="utf-8"?>
<a:theme xmlns:a="http://schemas.openxmlformats.org/drawingml/2006/main" name="9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6.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82</TotalTime>
  <Words>4914</Words>
  <Application>Microsoft Office PowerPoint</Application>
  <PresentationFormat>Širokoúhlá obrazovka</PresentationFormat>
  <Paragraphs>453</Paragraphs>
  <Slides>37</Slides>
  <Notes>4</Notes>
  <HiddenSlides>0</HiddenSlides>
  <MMClips>0</MMClips>
  <ScaleCrop>false</ScaleCrop>
  <HeadingPairs>
    <vt:vector size="6" baseType="variant">
      <vt:variant>
        <vt:lpstr>Použitá písma</vt:lpstr>
      </vt:variant>
      <vt:variant>
        <vt:i4>6</vt:i4>
      </vt:variant>
      <vt:variant>
        <vt:lpstr>Motiv</vt:lpstr>
      </vt:variant>
      <vt:variant>
        <vt:i4>5</vt:i4>
      </vt:variant>
      <vt:variant>
        <vt:lpstr>Nadpisy snímků</vt:lpstr>
      </vt:variant>
      <vt:variant>
        <vt:i4>37</vt:i4>
      </vt:variant>
    </vt:vector>
  </HeadingPairs>
  <TitlesOfParts>
    <vt:vector size="48" baseType="lpstr">
      <vt:lpstr>Arial</vt:lpstr>
      <vt:lpstr>Arial (Základní text)</vt:lpstr>
      <vt:lpstr>Calibri</vt:lpstr>
      <vt:lpstr>Calibri Light</vt:lpstr>
      <vt:lpstr>Segoe UI</vt:lpstr>
      <vt:lpstr>Wingdings</vt:lpstr>
      <vt:lpstr>Motiv Office</vt:lpstr>
      <vt:lpstr>1_Motiv systému Office</vt:lpstr>
      <vt:lpstr>2_Motiv Office</vt:lpstr>
      <vt:lpstr>3_Motiv Office</vt:lpstr>
      <vt:lpstr>9_Motiv Office</vt:lpstr>
      <vt:lpstr>Datová a informační základna  pro management pandemie COVID-19</vt:lpstr>
      <vt:lpstr>Datová a informační základna  pro management pandemie COVID-19</vt:lpstr>
      <vt:lpstr>Prezentace aplikace PowerPoint</vt:lpstr>
      <vt:lpstr>Prezentace aplikace PowerPoint</vt:lpstr>
      <vt:lpstr>Počty COVID-19 pozitivních v ČR na 100 000 v populaci</vt:lpstr>
      <vt:lpstr>Počty COVID-19 pozitivních v ČR na 100 000 v populaci</vt:lpstr>
      <vt:lpstr>Prezentace aplikace PowerPoint</vt:lpstr>
      <vt:lpstr>Datová a informační základna  pro management pandemie COVID-19</vt:lpstr>
      <vt:lpstr>Prezentace aplikace PowerPoint</vt:lpstr>
      <vt:lpstr>Prezentace aplikace PowerPoint</vt:lpstr>
      <vt:lpstr>Prezentace aplikace PowerPoint</vt:lpstr>
      <vt:lpstr>Prezentace aplikace PowerPoint</vt:lpstr>
      <vt:lpstr>Očkovaní aktivní zdravotničtí pracovníci</vt:lpstr>
      <vt:lpstr>Prezentace aplikace PowerPoint</vt:lpstr>
      <vt:lpstr>16 a více let: podíl osob očkovaných alespoň 1 dávkou</vt:lpstr>
      <vt:lpstr>16 a více let: podíl osob očkovaných alespoň 1 dávkou</vt:lpstr>
      <vt:lpstr>60 a více let: podíl osob očkovaných alespoň 1 dávkou</vt:lpstr>
      <vt:lpstr>Zpomalení šíření infekce v důsledku snížení počtu vnímavých jedinců: modelová projekce</vt:lpstr>
      <vt:lpstr>Datová a informační základna  pro management pandemie COVID-19</vt:lpstr>
      <vt:lpstr>Prezentace aplikace PowerPoint</vt:lpstr>
      <vt:lpstr>Prezentace aplikace PowerPoint</vt:lpstr>
      <vt:lpstr>Scénáře pro dlouhodobé simulace zahrnující efekt vakcinace </vt:lpstr>
      <vt:lpstr>Prezentace aplikace PowerPoint</vt:lpstr>
      <vt:lpstr>Prezentace aplikace PowerPoint</vt:lpstr>
      <vt:lpstr>Datová a informační základna  pro management pandemie COVID-19</vt:lpstr>
      <vt:lpstr>Prezentace aplikace PowerPoint</vt:lpstr>
      <vt:lpstr>Datová a informační základna  pro management pandemie COVID-19</vt:lpstr>
      <vt:lpstr>Prezentace aplikace PowerPoint</vt:lpstr>
      <vt:lpstr>Predikovaný počet nových hospitalizačních případů (denní příjmy do nemocnic)</vt:lpstr>
      <vt:lpstr>Predikovaný celkový počet aktuálně hospitalizovaných</vt:lpstr>
      <vt:lpstr>Predikovaný počet aktuálně hospitalizovaných na JIP</vt:lpstr>
      <vt:lpstr>Datová a informační základna  pro management pandemie COVID-19</vt:lpstr>
      <vt:lpstr>Počty COVID-19 pozitivních v ČR na 100 000 v populaci</vt:lpstr>
      <vt:lpstr>Počty COVID-19 pozitivních v ČR (absolutní počty)</vt:lpstr>
      <vt:lpstr>Relativní pozitivita PCR testů</vt:lpstr>
      <vt:lpstr>Počet hospitalizovaných s Covid-19 v nemocnicích</vt:lpstr>
      <vt:lpstr>Počet hospitalizovaných na JIP s Covid-19 v nemocnicí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artin Komenda</dc:creator>
  <cp:lastModifiedBy>Dušek Ladislav prof. RNDr. Ph.D.</cp:lastModifiedBy>
  <cp:revision>2188</cp:revision>
  <dcterms:created xsi:type="dcterms:W3CDTF">2020-03-16T10:06:11Z</dcterms:created>
  <dcterms:modified xsi:type="dcterms:W3CDTF">2021-09-21T05:22:11Z</dcterms:modified>
</cp:coreProperties>
</file>